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4">
  <p:sldMasterIdLst>
    <p:sldMasterId id="2147483672" r:id="rId4"/>
  </p:sldMasterIdLst>
  <p:sldIdLst>
    <p:sldId id="256" r:id="rId5"/>
    <p:sldId id="257" r:id="rId6"/>
    <p:sldId id="258" r:id="rId7"/>
    <p:sldId id="260" r:id="rId8"/>
    <p:sldId id="259" r:id="rId9"/>
    <p:sldId id="261" r:id="rId10"/>
    <p:sldId id="262" r:id="rId11"/>
    <p:sldId id="263" r:id="rId12"/>
    <p:sldId id="264" r:id="rId13"/>
    <p:sldId id="265" r:id="rId14"/>
    <p:sldId id="266" r:id="rId15"/>
    <p:sldId id="267" r:id="rId16"/>
    <p:sldId id="268" r:id="rId17"/>
    <p:sldId id="269" r:id="rId18"/>
    <p:sldId id="270" r:id="rId19"/>
    <p:sldId id="271" r:id="rId20"/>
    <p:sldId id="272" r:id="rId21"/>
  </p:sldIdLst>
  <p:sldSz cx="12192000" cy="6858000"/>
  <p:notesSz cx="6858000" cy="9144000"/>
  <p:custDataLst>
    <p:tags r:id="rId22"/>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5468796-07DE-42D0-B5D2-DEDB5DE087A0}" v="1487" dt="2021-05-01T11:36:44.85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p:scale>
          <a:sx n="66" d="100"/>
          <a:sy n="66" d="100"/>
        </p:scale>
        <p:origin x="2232" y="97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gs" Target="tags/tag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illes CLAUSSE" userId="daf015cd-b8c1-4a32-b859-aa2374c3d361" providerId="ADAL" clId="{15468796-07DE-42D0-B5D2-DEDB5DE087A0}"/>
    <pc:docChg chg="undo redo custSel addSld modSld sldOrd modMainMaster">
      <pc:chgData name="Gilles CLAUSSE" userId="daf015cd-b8c1-4a32-b859-aa2374c3d361" providerId="ADAL" clId="{15468796-07DE-42D0-B5D2-DEDB5DE087A0}" dt="2021-05-01T11:36:44.852" v="1416" actId="15"/>
      <pc:docMkLst>
        <pc:docMk/>
      </pc:docMkLst>
      <pc:sldChg chg="modSp">
        <pc:chgData name="Gilles CLAUSSE" userId="daf015cd-b8c1-4a32-b859-aa2374c3d361" providerId="ADAL" clId="{15468796-07DE-42D0-B5D2-DEDB5DE087A0}" dt="2021-04-29T19:55:32.102" v="125"/>
        <pc:sldMkLst>
          <pc:docMk/>
          <pc:sldMk cId="3598198307" sldId="256"/>
        </pc:sldMkLst>
        <pc:spChg chg="mod">
          <ac:chgData name="Gilles CLAUSSE" userId="daf015cd-b8c1-4a32-b859-aa2374c3d361" providerId="ADAL" clId="{15468796-07DE-42D0-B5D2-DEDB5DE087A0}" dt="2021-04-29T19:55:31.554" v="99" actId="207"/>
          <ac:spMkLst>
            <pc:docMk/>
            <pc:sldMk cId="3598198307" sldId="256"/>
            <ac:spMk id="2" creationId="{4FAC235E-492F-499D-9A7C-6B66C06F23C3}"/>
          </ac:spMkLst>
        </pc:spChg>
        <pc:spChg chg="mod">
          <ac:chgData name="Gilles CLAUSSE" userId="daf015cd-b8c1-4a32-b859-aa2374c3d361" providerId="ADAL" clId="{15468796-07DE-42D0-B5D2-DEDB5DE087A0}" dt="2021-04-29T19:55:27.162" v="98" actId="207"/>
          <ac:spMkLst>
            <pc:docMk/>
            <pc:sldMk cId="3598198307" sldId="256"/>
            <ac:spMk id="3" creationId="{B08F9AAB-1F70-4F84-88A5-AD6F82902597}"/>
          </ac:spMkLst>
        </pc:spChg>
        <pc:spChg chg="mod">
          <ac:chgData name="Gilles CLAUSSE" userId="daf015cd-b8c1-4a32-b859-aa2374c3d361" providerId="ADAL" clId="{15468796-07DE-42D0-B5D2-DEDB5DE087A0}" dt="2021-04-29T19:55:32.086" v="123" actId="6549"/>
          <ac:spMkLst>
            <pc:docMk/>
            <pc:sldMk cId="3598198307" sldId="256"/>
            <ac:spMk id="4" creationId="{7235825E-D306-4E74-A8A6-7F5B90AAAB38}"/>
          </ac:spMkLst>
        </pc:spChg>
        <pc:graphicFrameChg chg="mod">
          <ac:chgData name="Gilles CLAUSSE" userId="daf015cd-b8c1-4a32-b859-aa2374c3d361" providerId="ADAL" clId="{15468796-07DE-42D0-B5D2-DEDB5DE087A0}" dt="2021-04-29T19:55:32.102" v="125"/>
          <ac:graphicFrameMkLst>
            <pc:docMk/>
            <pc:sldMk cId="3598198307" sldId="256"/>
            <ac:graphicFrameMk id="5" creationId="{2332FCFC-0C46-4C6C-A33F-A543710A15C6}"/>
          </ac:graphicFrameMkLst>
        </pc:graphicFrameChg>
      </pc:sldChg>
      <pc:sldChg chg="addSp modSp add">
        <pc:chgData name="Gilles CLAUSSE" userId="daf015cd-b8c1-4a32-b859-aa2374c3d361" providerId="ADAL" clId="{15468796-07DE-42D0-B5D2-DEDB5DE087A0}" dt="2021-04-30T11:47:17.298" v="342" actId="20577"/>
        <pc:sldMkLst>
          <pc:docMk/>
          <pc:sldMk cId="2666365923" sldId="257"/>
        </pc:sldMkLst>
        <pc:spChg chg="mod ord">
          <ac:chgData name="Gilles CLAUSSE" userId="daf015cd-b8c1-4a32-b859-aa2374c3d361" providerId="ADAL" clId="{15468796-07DE-42D0-B5D2-DEDB5DE087A0}" dt="2021-04-30T11:45:52.872" v="190" actId="20577"/>
          <ac:spMkLst>
            <pc:docMk/>
            <pc:sldMk cId="2666365923" sldId="257"/>
            <ac:spMk id="2" creationId="{3FF0F3B8-4364-429E-A376-9A30880873B0}"/>
          </ac:spMkLst>
        </pc:spChg>
        <pc:spChg chg="mod ord">
          <ac:chgData name="Gilles CLAUSSE" userId="daf015cd-b8c1-4a32-b859-aa2374c3d361" providerId="ADAL" clId="{15468796-07DE-42D0-B5D2-DEDB5DE087A0}" dt="2021-04-30T11:47:17.298" v="342" actId="20577"/>
          <ac:spMkLst>
            <pc:docMk/>
            <pc:sldMk cId="2666365923" sldId="257"/>
            <ac:spMk id="3" creationId="{C258CF02-664C-4E4E-8D7C-51AC8F67602F}"/>
          </ac:spMkLst>
        </pc:spChg>
        <pc:spChg chg="add mod ord">
          <ac:chgData name="Gilles CLAUSSE" userId="daf015cd-b8c1-4a32-b859-aa2374c3d361" providerId="ADAL" clId="{15468796-07DE-42D0-B5D2-DEDB5DE087A0}" dt="2021-04-30T11:45:44.969" v="178"/>
          <ac:spMkLst>
            <pc:docMk/>
            <pc:sldMk cId="2666365923" sldId="257"/>
            <ac:spMk id="5" creationId="{A3421D35-B2B6-4C8C-B4DD-241ACC51CB49}"/>
          </ac:spMkLst>
        </pc:spChg>
        <pc:graphicFrameChg chg="add mod ord">
          <ac:chgData name="Gilles CLAUSSE" userId="daf015cd-b8c1-4a32-b859-aa2374c3d361" providerId="ADAL" clId="{15468796-07DE-42D0-B5D2-DEDB5DE087A0}" dt="2021-04-30T11:45:53.368" v="192"/>
          <ac:graphicFrameMkLst>
            <pc:docMk/>
            <pc:sldMk cId="2666365923" sldId="257"/>
            <ac:graphicFrameMk id="4" creationId="{B3D013B6-2BCC-472E-A78D-785CA3A7E4B5}"/>
          </ac:graphicFrameMkLst>
        </pc:graphicFrameChg>
      </pc:sldChg>
      <pc:sldChg chg="modSp add">
        <pc:chgData name="Gilles CLAUSSE" userId="daf015cd-b8c1-4a32-b859-aa2374c3d361" providerId="ADAL" clId="{15468796-07DE-42D0-B5D2-DEDB5DE087A0}" dt="2021-04-30T12:08:19.112" v="624" actId="27636"/>
        <pc:sldMkLst>
          <pc:docMk/>
          <pc:sldMk cId="3049949560" sldId="258"/>
        </pc:sldMkLst>
        <pc:spChg chg="mod">
          <ac:chgData name="Gilles CLAUSSE" userId="daf015cd-b8c1-4a32-b859-aa2374c3d361" providerId="ADAL" clId="{15468796-07DE-42D0-B5D2-DEDB5DE087A0}" dt="2021-04-30T11:47:31.403" v="401" actId="20577"/>
          <ac:spMkLst>
            <pc:docMk/>
            <pc:sldMk cId="3049949560" sldId="258"/>
            <ac:spMk id="2" creationId="{3FF0F3B8-4364-429E-A376-9A30880873B0}"/>
          </ac:spMkLst>
        </pc:spChg>
        <pc:spChg chg="mod">
          <ac:chgData name="Gilles CLAUSSE" userId="daf015cd-b8c1-4a32-b859-aa2374c3d361" providerId="ADAL" clId="{15468796-07DE-42D0-B5D2-DEDB5DE087A0}" dt="2021-04-30T12:08:19.112" v="624" actId="27636"/>
          <ac:spMkLst>
            <pc:docMk/>
            <pc:sldMk cId="3049949560" sldId="258"/>
            <ac:spMk id="3" creationId="{C258CF02-664C-4E4E-8D7C-51AC8F67602F}"/>
          </ac:spMkLst>
        </pc:spChg>
        <pc:spChg chg="mod">
          <ac:chgData name="Gilles CLAUSSE" userId="daf015cd-b8c1-4a32-b859-aa2374c3d361" providerId="ADAL" clId="{15468796-07DE-42D0-B5D2-DEDB5DE087A0}" dt="2021-04-30T11:47:27.909" v="381" actId="6549"/>
          <ac:spMkLst>
            <pc:docMk/>
            <pc:sldMk cId="3049949560" sldId="258"/>
            <ac:spMk id="5" creationId="{A3421D35-B2B6-4C8C-B4DD-241ACC51CB49}"/>
          </ac:spMkLst>
        </pc:spChg>
        <pc:graphicFrameChg chg="mod">
          <ac:chgData name="Gilles CLAUSSE" userId="daf015cd-b8c1-4a32-b859-aa2374c3d361" providerId="ADAL" clId="{15468796-07DE-42D0-B5D2-DEDB5DE087A0}" dt="2021-04-30T11:47:31.920" v="403"/>
          <ac:graphicFrameMkLst>
            <pc:docMk/>
            <pc:sldMk cId="3049949560" sldId="258"/>
            <ac:graphicFrameMk id="4" creationId="{B3D013B6-2BCC-472E-A78D-785CA3A7E4B5}"/>
          </ac:graphicFrameMkLst>
        </pc:graphicFrameChg>
      </pc:sldChg>
      <pc:sldChg chg="addSp delSp modSp add">
        <pc:chgData name="Gilles CLAUSSE" userId="daf015cd-b8c1-4a32-b859-aa2374c3d361" providerId="ADAL" clId="{15468796-07DE-42D0-B5D2-DEDB5DE087A0}" dt="2021-04-30T12:08:00.204" v="622" actId="14100"/>
        <pc:sldMkLst>
          <pc:docMk/>
          <pc:sldMk cId="1204406066" sldId="259"/>
        </pc:sldMkLst>
        <pc:spChg chg="mod">
          <ac:chgData name="Gilles CLAUSSE" userId="daf015cd-b8c1-4a32-b859-aa2374c3d361" providerId="ADAL" clId="{15468796-07DE-42D0-B5D2-DEDB5DE087A0}" dt="2021-04-30T11:52:04.748" v="458" actId="20577"/>
          <ac:spMkLst>
            <pc:docMk/>
            <pc:sldMk cId="1204406066" sldId="259"/>
            <ac:spMk id="2" creationId="{3FF0F3B8-4364-429E-A376-9A30880873B0}"/>
          </ac:spMkLst>
        </pc:spChg>
        <pc:spChg chg="mod">
          <ac:chgData name="Gilles CLAUSSE" userId="daf015cd-b8c1-4a32-b859-aa2374c3d361" providerId="ADAL" clId="{15468796-07DE-42D0-B5D2-DEDB5DE087A0}" dt="2021-04-30T12:08:00.204" v="622" actId="14100"/>
          <ac:spMkLst>
            <pc:docMk/>
            <pc:sldMk cId="1204406066" sldId="259"/>
            <ac:spMk id="3" creationId="{C258CF02-664C-4E4E-8D7C-51AC8F67602F}"/>
          </ac:spMkLst>
        </pc:spChg>
        <pc:spChg chg="mod">
          <ac:chgData name="Gilles CLAUSSE" userId="daf015cd-b8c1-4a32-b859-aa2374c3d361" providerId="ADAL" clId="{15468796-07DE-42D0-B5D2-DEDB5DE087A0}" dt="2021-04-30T11:52:03.877" v="449" actId="6549"/>
          <ac:spMkLst>
            <pc:docMk/>
            <pc:sldMk cId="1204406066" sldId="259"/>
            <ac:spMk id="5" creationId="{A3421D35-B2B6-4C8C-B4DD-241ACC51CB49}"/>
          </ac:spMkLst>
        </pc:spChg>
        <pc:spChg chg="add del">
          <ac:chgData name="Gilles CLAUSSE" userId="daf015cd-b8c1-4a32-b859-aa2374c3d361" providerId="ADAL" clId="{15468796-07DE-42D0-B5D2-DEDB5DE087A0}" dt="2021-04-30T12:00:51.691" v="477"/>
          <ac:spMkLst>
            <pc:docMk/>
            <pc:sldMk cId="1204406066" sldId="259"/>
            <ac:spMk id="6" creationId="{3CBCEB36-C3D0-4633-8BF5-E9FCDA922398}"/>
          </ac:spMkLst>
        </pc:spChg>
        <pc:spChg chg="add del">
          <ac:chgData name="Gilles CLAUSSE" userId="daf015cd-b8c1-4a32-b859-aa2374c3d361" providerId="ADAL" clId="{15468796-07DE-42D0-B5D2-DEDB5DE087A0}" dt="2021-04-30T12:00:51.691" v="477"/>
          <ac:spMkLst>
            <pc:docMk/>
            <pc:sldMk cId="1204406066" sldId="259"/>
            <ac:spMk id="7" creationId="{5CB6767E-85E1-471B-B85F-D00D3F688EC9}"/>
          </ac:spMkLst>
        </pc:spChg>
        <pc:spChg chg="add del">
          <ac:chgData name="Gilles CLAUSSE" userId="daf015cd-b8c1-4a32-b859-aa2374c3d361" providerId="ADAL" clId="{15468796-07DE-42D0-B5D2-DEDB5DE087A0}" dt="2021-04-30T12:01:27.003" v="491"/>
          <ac:spMkLst>
            <pc:docMk/>
            <pc:sldMk cId="1204406066" sldId="259"/>
            <ac:spMk id="8" creationId="{80752F05-242F-470D-B69C-7B76994452C6}"/>
          </ac:spMkLst>
        </pc:spChg>
        <pc:spChg chg="add del">
          <ac:chgData name="Gilles CLAUSSE" userId="daf015cd-b8c1-4a32-b859-aa2374c3d361" providerId="ADAL" clId="{15468796-07DE-42D0-B5D2-DEDB5DE087A0}" dt="2021-04-30T12:01:27.003" v="491"/>
          <ac:spMkLst>
            <pc:docMk/>
            <pc:sldMk cId="1204406066" sldId="259"/>
            <ac:spMk id="9" creationId="{9C55D1D8-B6D1-42F8-90B2-EE5FEB65F662}"/>
          </ac:spMkLst>
        </pc:spChg>
        <pc:spChg chg="add del">
          <ac:chgData name="Gilles CLAUSSE" userId="daf015cd-b8c1-4a32-b859-aa2374c3d361" providerId="ADAL" clId="{15468796-07DE-42D0-B5D2-DEDB5DE087A0}" dt="2021-04-30T12:01:36.259" v="493"/>
          <ac:spMkLst>
            <pc:docMk/>
            <pc:sldMk cId="1204406066" sldId="259"/>
            <ac:spMk id="10" creationId="{DA06E1F3-01FF-4B58-B6CF-9FA09CBE368C}"/>
          </ac:spMkLst>
        </pc:spChg>
        <pc:spChg chg="add del">
          <ac:chgData name="Gilles CLAUSSE" userId="daf015cd-b8c1-4a32-b859-aa2374c3d361" providerId="ADAL" clId="{15468796-07DE-42D0-B5D2-DEDB5DE087A0}" dt="2021-04-30T12:01:36.259" v="493"/>
          <ac:spMkLst>
            <pc:docMk/>
            <pc:sldMk cId="1204406066" sldId="259"/>
            <ac:spMk id="11" creationId="{9CA0B872-5F3F-4CE4-A7CC-DE60BCCD0D54}"/>
          </ac:spMkLst>
        </pc:spChg>
        <pc:graphicFrameChg chg="mod">
          <ac:chgData name="Gilles CLAUSSE" userId="daf015cd-b8c1-4a32-b859-aa2374c3d361" providerId="ADAL" clId="{15468796-07DE-42D0-B5D2-DEDB5DE087A0}" dt="2021-04-30T11:52:05.248" v="460"/>
          <ac:graphicFrameMkLst>
            <pc:docMk/>
            <pc:sldMk cId="1204406066" sldId="259"/>
            <ac:graphicFrameMk id="4" creationId="{B3D013B6-2BCC-472E-A78D-785CA3A7E4B5}"/>
          </ac:graphicFrameMkLst>
        </pc:graphicFrameChg>
        <pc:picChg chg="add del">
          <ac:chgData name="Gilles CLAUSSE" userId="daf015cd-b8c1-4a32-b859-aa2374c3d361" providerId="ADAL" clId="{15468796-07DE-42D0-B5D2-DEDB5DE087A0}" dt="2021-04-30T12:00:51.691" v="477"/>
          <ac:picMkLst>
            <pc:docMk/>
            <pc:sldMk cId="1204406066" sldId="259"/>
            <ac:picMk id="4097" creationId="{FE991309-EF34-4800-A9D4-8850215C6636}"/>
          </ac:picMkLst>
        </pc:picChg>
        <pc:picChg chg="add del">
          <ac:chgData name="Gilles CLAUSSE" userId="daf015cd-b8c1-4a32-b859-aa2374c3d361" providerId="ADAL" clId="{15468796-07DE-42D0-B5D2-DEDB5DE087A0}" dt="2021-04-30T12:01:27.003" v="491"/>
          <ac:picMkLst>
            <pc:docMk/>
            <pc:sldMk cId="1204406066" sldId="259"/>
            <ac:picMk id="4100" creationId="{22622DB5-92DD-48E5-9C9A-D60C08D68F44}"/>
          </ac:picMkLst>
        </pc:picChg>
        <pc:picChg chg="add del">
          <ac:chgData name="Gilles CLAUSSE" userId="daf015cd-b8c1-4a32-b859-aa2374c3d361" providerId="ADAL" clId="{15468796-07DE-42D0-B5D2-DEDB5DE087A0}" dt="2021-04-30T12:01:36.259" v="493"/>
          <ac:picMkLst>
            <pc:docMk/>
            <pc:sldMk cId="1204406066" sldId="259"/>
            <ac:picMk id="4103" creationId="{C4503EDB-E0AB-4245-A9B8-5B73604E1312}"/>
          </ac:picMkLst>
        </pc:picChg>
      </pc:sldChg>
      <pc:sldChg chg="modSp add ord">
        <pc:chgData name="Gilles CLAUSSE" userId="daf015cd-b8c1-4a32-b859-aa2374c3d361" providerId="ADAL" clId="{15468796-07DE-42D0-B5D2-DEDB5DE087A0}" dt="2021-04-30T12:06:17.194" v="585"/>
        <pc:sldMkLst>
          <pc:docMk/>
          <pc:sldMk cId="2045300685" sldId="260"/>
        </pc:sldMkLst>
        <pc:spChg chg="mod">
          <ac:chgData name="Gilles CLAUSSE" userId="daf015cd-b8c1-4a32-b859-aa2374c3d361" providerId="ADAL" clId="{15468796-07DE-42D0-B5D2-DEDB5DE087A0}" dt="2021-04-30T12:06:03.222" v="584" actId="20577"/>
          <ac:spMkLst>
            <pc:docMk/>
            <pc:sldMk cId="2045300685" sldId="260"/>
            <ac:spMk id="3" creationId="{C258CF02-664C-4E4E-8D7C-51AC8F67602F}"/>
          </ac:spMkLst>
        </pc:spChg>
      </pc:sldChg>
      <pc:sldChg chg="addSp delSp modSp add">
        <pc:chgData name="Gilles CLAUSSE" userId="daf015cd-b8c1-4a32-b859-aa2374c3d361" providerId="ADAL" clId="{15468796-07DE-42D0-B5D2-DEDB5DE087A0}" dt="2021-04-30T12:11:34.577" v="637"/>
        <pc:sldMkLst>
          <pc:docMk/>
          <pc:sldMk cId="2448988380" sldId="261"/>
        </pc:sldMkLst>
        <pc:spChg chg="mod">
          <ac:chgData name="Gilles CLAUSSE" userId="daf015cd-b8c1-4a32-b859-aa2374c3d361" providerId="ADAL" clId="{15468796-07DE-42D0-B5D2-DEDB5DE087A0}" dt="2021-04-30T12:09:53.757" v="630" actId="1076"/>
          <ac:spMkLst>
            <pc:docMk/>
            <pc:sldMk cId="2448988380" sldId="261"/>
            <ac:spMk id="3" creationId="{C258CF02-664C-4E4E-8D7C-51AC8F67602F}"/>
          </ac:spMkLst>
        </pc:spChg>
        <pc:spChg chg="add mod">
          <ac:chgData name="Gilles CLAUSSE" userId="daf015cd-b8c1-4a32-b859-aa2374c3d361" providerId="ADAL" clId="{15468796-07DE-42D0-B5D2-DEDB5DE087A0}" dt="2021-04-30T12:09:53.757" v="630" actId="1076"/>
          <ac:spMkLst>
            <pc:docMk/>
            <pc:sldMk cId="2448988380" sldId="261"/>
            <ac:spMk id="6" creationId="{3CED5C70-227C-47C5-BB26-477E7D9A9236}"/>
          </ac:spMkLst>
        </pc:spChg>
        <pc:spChg chg="add mod">
          <ac:chgData name="Gilles CLAUSSE" userId="daf015cd-b8c1-4a32-b859-aa2374c3d361" providerId="ADAL" clId="{15468796-07DE-42D0-B5D2-DEDB5DE087A0}" dt="2021-04-30T12:10:08.988" v="635" actId="1076"/>
          <ac:spMkLst>
            <pc:docMk/>
            <pc:sldMk cId="2448988380" sldId="261"/>
            <ac:spMk id="7" creationId="{1519147F-2C2D-4BEA-9E1D-8D3EEA772C61}"/>
          </ac:spMkLst>
        </pc:spChg>
        <pc:spChg chg="add del">
          <ac:chgData name="Gilles CLAUSSE" userId="daf015cd-b8c1-4a32-b859-aa2374c3d361" providerId="ADAL" clId="{15468796-07DE-42D0-B5D2-DEDB5DE087A0}" dt="2021-04-30T12:11:34.577" v="637"/>
          <ac:spMkLst>
            <pc:docMk/>
            <pc:sldMk cId="2448988380" sldId="261"/>
            <ac:spMk id="8" creationId="{CAACF6CA-8AE4-4214-8BA6-B201DC950E2B}"/>
          </ac:spMkLst>
        </pc:spChg>
        <pc:spChg chg="add del">
          <ac:chgData name="Gilles CLAUSSE" userId="daf015cd-b8c1-4a32-b859-aa2374c3d361" providerId="ADAL" clId="{15468796-07DE-42D0-B5D2-DEDB5DE087A0}" dt="2021-04-30T12:11:34.577" v="637"/>
          <ac:spMkLst>
            <pc:docMk/>
            <pc:sldMk cId="2448988380" sldId="261"/>
            <ac:spMk id="9" creationId="{2C634202-F9A5-42C0-BD21-D1289FE04701}"/>
          </ac:spMkLst>
        </pc:spChg>
        <pc:picChg chg="add mod">
          <ac:chgData name="Gilles CLAUSSE" userId="daf015cd-b8c1-4a32-b859-aa2374c3d361" providerId="ADAL" clId="{15468796-07DE-42D0-B5D2-DEDB5DE087A0}" dt="2021-04-30T12:10:02.348" v="633" actId="1076"/>
          <ac:picMkLst>
            <pc:docMk/>
            <pc:sldMk cId="2448988380" sldId="261"/>
            <ac:picMk id="6145" creationId="{9666424D-8CC4-4CAF-949A-86D8989AB623}"/>
          </ac:picMkLst>
        </pc:picChg>
        <pc:picChg chg="add del">
          <ac:chgData name="Gilles CLAUSSE" userId="daf015cd-b8c1-4a32-b859-aa2374c3d361" providerId="ADAL" clId="{15468796-07DE-42D0-B5D2-DEDB5DE087A0}" dt="2021-04-30T12:11:34.577" v="637"/>
          <ac:picMkLst>
            <pc:docMk/>
            <pc:sldMk cId="2448988380" sldId="261"/>
            <ac:picMk id="6148" creationId="{75210CE1-B588-4EF2-89ED-34B4D7EE062E}"/>
          </ac:picMkLst>
        </pc:picChg>
      </pc:sldChg>
      <pc:sldChg chg="addSp delSp modSp add">
        <pc:chgData name="Gilles CLAUSSE" userId="daf015cd-b8c1-4a32-b859-aa2374c3d361" providerId="ADAL" clId="{15468796-07DE-42D0-B5D2-DEDB5DE087A0}" dt="2021-04-30T12:21:51.444" v="1034" actId="20577"/>
        <pc:sldMkLst>
          <pc:docMk/>
          <pc:sldMk cId="4057692798" sldId="262"/>
        </pc:sldMkLst>
        <pc:spChg chg="mod">
          <ac:chgData name="Gilles CLAUSSE" userId="daf015cd-b8c1-4a32-b859-aa2374c3d361" providerId="ADAL" clId="{15468796-07DE-42D0-B5D2-DEDB5DE087A0}" dt="2021-04-30T12:11:43.985" v="651" actId="20577"/>
          <ac:spMkLst>
            <pc:docMk/>
            <pc:sldMk cId="4057692798" sldId="262"/>
            <ac:spMk id="2" creationId="{3FF0F3B8-4364-429E-A376-9A30880873B0}"/>
          </ac:spMkLst>
        </pc:spChg>
        <pc:spChg chg="mod">
          <ac:chgData name="Gilles CLAUSSE" userId="daf015cd-b8c1-4a32-b859-aa2374c3d361" providerId="ADAL" clId="{15468796-07DE-42D0-B5D2-DEDB5DE087A0}" dt="2021-04-30T12:21:51.444" v="1034" actId="20577"/>
          <ac:spMkLst>
            <pc:docMk/>
            <pc:sldMk cId="4057692798" sldId="262"/>
            <ac:spMk id="3" creationId="{C258CF02-664C-4E4E-8D7C-51AC8F67602F}"/>
          </ac:spMkLst>
        </pc:spChg>
        <pc:spChg chg="add del">
          <ac:chgData name="Gilles CLAUSSE" userId="daf015cd-b8c1-4a32-b859-aa2374c3d361" providerId="ADAL" clId="{15468796-07DE-42D0-B5D2-DEDB5DE087A0}" dt="2021-04-30T12:14:00.621" v="657"/>
          <ac:spMkLst>
            <pc:docMk/>
            <pc:sldMk cId="4057692798" sldId="262"/>
            <ac:spMk id="8" creationId="{D172F32E-52BB-40D7-A283-ECF3CAFCF12F}"/>
          </ac:spMkLst>
        </pc:spChg>
        <pc:graphicFrameChg chg="mod">
          <ac:chgData name="Gilles CLAUSSE" userId="daf015cd-b8c1-4a32-b859-aa2374c3d361" providerId="ADAL" clId="{15468796-07DE-42D0-B5D2-DEDB5DE087A0}" dt="2021-04-30T12:11:44.499" v="653"/>
          <ac:graphicFrameMkLst>
            <pc:docMk/>
            <pc:sldMk cId="4057692798" sldId="262"/>
            <ac:graphicFrameMk id="4" creationId="{B3D013B6-2BCC-472E-A78D-785CA3A7E4B5}"/>
          </ac:graphicFrameMkLst>
        </pc:graphicFrameChg>
        <pc:picChg chg="del">
          <ac:chgData name="Gilles CLAUSSE" userId="daf015cd-b8c1-4a32-b859-aa2374c3d361" providerId="ADAL" clId="{15468796-07DE-42D0-B5D2-DEDB5DE087A0}" dt="2021-04-30T12:12:37.488" v="654" actId="478"/>
          <ac:picMkLst>
            <pc:docMk/>
            <pc:sldMk cId="4057692798" sldId="262"/>
            <ac:picMk id="6145" creationId="{9666424D-8CC4-4CAF-949A-86D8989AB623}"/>
          </ac:picMkLst>
        </pc:picChg>
      </pc:sldChg>
      <pc:sldChg chg="addSp delSp modSp add">
        <pc:chgData name="Gilles CLAUSSE" userId="daf015cd-b8c1-4a32-b859-aa2374c3d361" providerId="ADAL" clId="{15468796-07DE-42D0-B5D2-DEDB5DE087A0}" dt="2021-04-30T12:19:44.011" v="854" actId="20577"/>
        <pc:sldMkLst>
          <pc:docMk/>
          <pc:sldMk cId="1545495324" sldId="263"/>
        </pc:sldMkLst>
        <pc:spChg chg="mod">
          <ac:chgData name="Gilles CLAUSSE" userId="daf015cd-b8c1-4a32-b859-aa2374c3d361" providerId="ADAL" clId="{15468796-07DE-42D0-B5D2-DEDB5DE087A0}" dt="2021-04-30T12:17:53.988" v="839" actId="20577"/>
          <ac:spMkLst>
            <pc:docMk/>
            <pc:sldMk cId="1545495324" sldId="263"/>
            <ac:spMk id="2" creationId="{3FF0F3B8-4364-429E-A376-9A30880873B0}"/>
          </ac:spMkLst>
        </pc:spChg>
        <pc:spChg chg="mod">
          <ac:chgData name="Gilles CLAUSSE" userId="daf015cd-b8c1-4a32-b859-aa2374c3d361" providerId="ADAL" clId="{15468796-07DE-42D0-B5D2-DEDB5DE087A0}" dt="2021-04-30T12:19:44.011" v="854" actId="20577"/>
          <ac:spMkLst>
            <pc:docMk/>
            <pc:sldMk cId="1545495324" sldId="263"/>
            <ac:spMk id="3" creationId="{C258CF02-664C-4E4E-8D7C-51AC8F67602F}"/>
          </ac:spMkLst>
        </pc:spChg>
        <pc:spChg chg="mod">
          <ac:chgData name="Gilles CLAUSSE" userId="daf015cd-b8c1-4a32-b859-aa2374c3d361" providerId="ADAL" clId="{15468796-07DE-42D0-B5D2-DEDB5DE087A0}" dt="2021-04-30T12:14:17.100" v="683" actId="6549"/>
          <ac:spMkLst>
            <pc:docMk/>
            <pc:sldMk cId="1545495324" sldId="263"/>
            <ac:spMk id="5" creationId="{A3421D35-B2B6-4C8C-B4DD-241ACC51CB49}"/>
          </ac:spMkLst>
        </pc:spChg>
        <pc:spChg chg="del mod">
          <ac:chgData name="Gilles CLAUSSE" userId="daf015cd-b8c1-4a32-b859-aa2374c3d361" providerId="ADAL" clId="{15468796-07DE-42D0-B5D2-DEDB5DE087A0}" dt="2021-04-30T12:19:27.769" v="849" actId="478"/>
          <ac:spMkLst>
            <pc:docMk/>
            <pc:sldMk cId="1545495324" sldId="263"/>
            <ac:spMk id="7" creationId="{1519147F-2C2D-4BEA-9E1D-8D3EEA772C61}"/>
          </ac:spMkLst>
        </pc:spChg>
        <pc:spChg chg="add mod">
          <ac:chgData name="Gilles CLAUSSE" userId="daf015cd-b8c1-4a32-b859-aa2374c3d361" providerId="ADAL" clId="{15468796-07DE-42D0-B5D2-DEDB5DE087A0}" dt="2021-04-30T12:19:34.271" v="852" actId="1076"/>
          <ac:spMkLst>
            <pc:docMk/>
            <pc:sldMk cId="1545495324" sldId="263"/>
            <ac:spMk id="9" creationId="{A517B480-3657-4DA0-84BA-4ABBE1BE3828}"/>
          </ac:spMkLst>
        </pc:spChg>
        <pc:graphicFrameChg chg="mod">
          <ac:chgData name="Gilles CLAUSSE" userId="daf015cd-b8c1-4a32-b859-aa2374c3d361" providerId="ADAL" clId="{15468796-07DE-42D0-B5D2-DEDB5DE087A0}" dt="2021-04-30T12:17:54.505" v="841"/>
          <ac:graphicFrameMkLst>
            <pc:docMk/>
            <pc:sldMk cId="1545495324" sldId="263"/>
            <ac:graphicFrameMk id="4" creationId="{B3D013B6-2BCC-472E-A78D-785CA3A7E4B5}"/>
          </ac:graphicFrameMkLst>
        </pc:graphicFrameChg>
        <pc:picChg chg="add mod">
          <ac:chgData name="Gilles CLAUSSE" userId="daf015cd-b8c1-4a32-b859-aa2374c3d361" providerId="ADAL" clId="{15468796-07DE-42D0-B5D2-DEDB5DE087A0}" dt="2021-04-30T12:19:37.720" v="853" actId="1076"/>
          <ac:picMkLst>
            <pc:docMk/>
            <pc:sldMk cId="1545495324" sldId="263"/>
            <ac:picMk id="8" creationId="{8E0C522E-5DB0-416F-846A-F16C093FFA07}"/>
          </ac:picMkLst>
        </pc:picChg>
      </pc:sldChg>
      <pc:sldChg chg="addSp delSp modSp add">
        <pc:chgData name="Gilles CLAUSSE" userId="daf015cd-b8c1-4a32-b859-aa2374c3d361" providerId="ADAL" clId="{15468796-07DE-42D0-B5D2-DEDB5DE087A0}" dt="2021-04-30T12:20:39.392" v="890"/>
        <pc:sldMkLst>
          <pc:docMk/>
          <pc:sldMk cId="3721071149" sldId="264"/>
        </pc:sldMkLst>
        <pc:spChg chg="mod">
          <ac:chgData name="Gilles CLAUSSE" userId="daf015cd-b8c1-4a32-b859-aa2374c3d361" providerId="ADAL" clId="{15468796-07DE-42D0-B5D2-DEDB5DE087A0}" dt="2021-04-30T12:20:27.290" v="888" actId="1036"/>
          <ac:spMkLst>
            <pc:docMk/>
            <pc:sldMk cId="3721071149" sldId="264"/>
            <ac:spMk id="3" creationId="{C258CF02-664C-4E4E-8D7C-51AC8F67602F}"/>
          </ac:spMkLst>
        </pc:spChg>
        <pc:spChg chg="del mod">
          <ac:chgData name="Gilles CLAUSSE" userId="daf015cd-b8c1-4a32-b859-aa2374c3d361" providerId="ADAL" clId="{15468796-07DE-42D0-B5D2-DEDB5DE087A0}" dt="2021-04-30T12:19:08.966" v="846" actId="478"/>
          <ac:spMkLst>
            <pc:docMk/>
            <pc:sldMk cId="3721071149" sldId="264"/>
            <ac:spMk id="7" creationId="{1519147F-2C2D-4BEA-9E1D-8D3EEA772C61}"/>
          </ac:spMkLst>
        </pc:spChg>
        <pc:spChg chg="add del">
          <ac:chgData name="Gilles CLAUSSE" userId="daf015cd-b8c1-4a32-b859-aa2374c3d361" providerId="ADAL" clId="{15468796-07DE-42D0-B5D2-DEDB5DE087A0}" dt="2021-04-30T12:20:39.392" v="890"/>
          <ac:spMkLst>
            <pc:docMk/>
            <pc:sldMk cId="3721071149" sldId="264"/>
            <ac:spMk id="9" creationId="{40061A2D-51CD-44C6-B369-E6F2B308A7B1}"/>
          </ac:spMkLst>
        </pc:spChg>
        <pc:picChg chg="del mod">
          <ac:chgData name="Gilles CLAUSSE" userId="daf015cd-b8c1-4a32-b859-aa2374c3d361" providerId="ADAL" clId="{15468796-07DE-42D0-B5D2-DEDB5DE087A0}" dt="2021-04-30T12:19:55.809" v="855" actId="478"/>
          <ac:picMkLst>
            <pc:docMk/>
            <pc:sldMk cId="3721071149" sldId="264"/>
            <ac:picMk id="8" creationId="{8E0C522E-5DB0-416F-846A-F16C093FFA07}"/>
          </ac:picMkLst>
        </pc:picChg>
      </pc:sldChg>
      <pc:sldChg chg="addSp modSp add">
        <pc:chgData name="Gilles CLAUSSE" userId="daf015cd-b8c1-4a32-b859-aa2374c3d361" providerId="ADAL" clId="{15468796-07DE-42D0-B5D2-DEDB5DE087A0}" dt="2021-04-30T12:24:10.593" v="1054" actId="14100"/>
        <pc:sldMkLst>
          <pc:docMk/>
          <pc:sldMk cId="2784578345" sldId="265"/>
        </pc:sldMkLst>
        <pc:spChg chg="mod">
          <ac:chgData name="Gilles CLAUSSE" userId="daf015cd-b8c1-4a32-b859-aa2374c3d361" providerId="ADAL" clId="{15468796-07DE-42D0-B5D2-DEDB5DE087A0}" dt="2021-04-30T12:20:58.145" v="962" actId="20577"/>
          <ac:spMkLst>
            <pc:docMk/>
            <pc:sldMk cId="2784578345" sldId="265"/>
            <ac:spMk id="2" creationId="{3FF0F3B8-4364-429E-A376-9A30880873B0}"/>
          </ac:spMkLst>
        </pc:spChg>
        <pc:spChg chg="mod">
          <ac:chgData name="Gilles CLAUSSE" userId="daf015cd-b8c1-4a32-b859-aa2374c3d361" providerId="ADAL" clId="{15468796-07DE-42D0-B5D2-DEDB5DE087A0}" dt="2021-04-30T12:22:39.249" v="1035"/>
          <ac:spMkLst>
            <pc:docMk/>
            <pc:sldMk cId="2784578345" sldId="265"/>
            <ac:spMk id="3" creationId="{C258CF02-664C-4E4E-8D7C-51AC8F67602F}"/>
          </ac:spMkLst>
        </pc:spChg>
        <pc:spChg chg="mod">
          <ac:chgData name="Gilles CLAUSSE" userId="daf015cd-b8c1-4a32-b859-aa2374c3d361" providerId="ADAL" clId="{15468796-07DE-42D0-B5D2-DEDB5DE087A0}" dt="2021-04-30T12:20:54.784" v="943" actId="6549"/>
          <ac:spMkLst>
            <pc:docMk/>
            <pc:sldMk cId="2784578345" sldId="265"/>
            <ac:spMk id="5" creationId="{A3421D35-B2B6-4C8C-B4DD-241ACC51CB49}"/>
          </ac:spMkLst>
        </pc:spChg>
        <pc:spChg chg="add mod">
          <ac:chgData name="Gilles CLAUSSE" userId="daf015cd-b8c1-4a32-b859-aa2374c3d361" providerId="ADAL" clId="{15468796-07DE-42D0-B5D2-DEDB5DE087A0}" dt="2021-04-30T12:23:20.116" v="1052" actId="255"/>
          <ac:spMkLst>
            <pc:docMk/>
            <pc:sldMk cId="2784578345" sldId="265"/>
            <ac:spMk id="8" creationId="{B8B55BF0-1726-4CEB-A7E8-FDAFB7C690C0}"/>
          </ac:spMkLst>
        </pc:spChg>
        <pc:graphicFrameChg chg="mod">
          <ac:chgData name="Gilles CLAUSSE" userId="daf015cd-b8c1-4a32-b859-aa2374c3d361" providerId="ADAL" clId="{15468796-07DE-42D0-B5D2-DEDB5DE087A0}" dt="2021-04-30T12:20:58.664" v="964"/>
          <ac:graphicFrameMkLst>
            <pc:docMk/>
            <pc:sldMk cId="2784578345" sldId="265"/>
            <ac:graphicFrameMk id="4" creationId="{B3D013B6-2BCC-472E-A78D-785CA3A7E4B5}"/>
          </ac:graphicFrameMkLst>
        </pc:graphicFrameChg>
        <pc:picChg chg="add mod">
          <ac:chgData name="Gilles CLAUSSE" userId="daf015cd-b8c1-4a32-b859-aa2374c3d361" providerId="ADAL" clId="{15468796-07DE-42D0-B5D2-DEDB5DE087A0}" dt="2021-04-30T12:24:10.593" v="1054" actId="14100"/>
          <ac:picMkLst>
            <pc:docMk/>
            <pc:sldMk cId="2784578345" sldId="265"/>
            <ac:picMk id="7" creationId="{C76411E2-0CB9-47A0-9C6C-75820331C1B1}"/>
          </ac:picMkLst>
        </pc:picChg>
      </pc:sldChg>
      <pc:sldChg chg="addSp delSp modSp add">
        <pc:chgData name="Gilles CLAUSSE" userId="daf015cd-b8c1-4a32-b859-aa2374c3d361" providerId="ADAL" clId="{15468796-07DE-42D0-B5D2-DEDB5DE087A0}" dt="2021-04-30T12:26:16.585" v="1060"/>
        <pc:sldMkLst>
          <pc:docMk/>
          <pc:sldMk cId="1093390358" sldId="266"/>
        </pc:sldMkLst>
        <pc:spChg chg="mod">
          <ac:chgData name="Gilles CLAUSSE" userId="daf015cd-b8c1-4a32-b859-aa2374c3d361" providerId="ADAL" clId="{15468796-07DE-42D0-B5D2-DEDB5DE087A0}" dt="2021-04-30T12:25:26.299" v="1056"/>
          <ac:spMkLst>
            <pc:docMk/>
            <pc:sldMk cId="1093390358" sldId="266"/>
            <ac:spMk id="3" creationId="{C258CF02-664C-4E4E-8D7C-51AC8F67602F}"/>
          </ac:spMkLst>
        </pc:spChg>
        <pc:spChg chg="del">
          <ac:chgData name="Gilles CLAUSSE" userId="daf015cd-b8c1-4a32-b859-aa2374c3d361" providerId="ADAL" clId="{15468796-07DE-42D0-B5D2-DEDB5DE087A0}" dt="2021-04-30T12:26:03.618" v="1058" actId="478"/>
          <ac:spMkLst>
            <pc:docMk/>
            <pc:sldMk cId="1093390358" sldId="266"/>
            <ac:spMk id="8" creationId="{B8B55BF0-1726-4CEB-A7E8-FDAFB7C690C0}"/>
          </ac:spMkLst>
        </pc:spChg>
        <pc:spChg chg="add del">
          <ac:chgData name="Gilles CLAUSSE" userId="daf015cd-b8c1-4a32-b859-aa2374c3d361" providerId="ADAL" clId="{15468796-07DE-42D0-B5D2-DEDB5DE087A0}" dt="2021-04-30T12:26:16.585" v="1060"/>
          <ac:spMkLst>
            <pc:docMk/>
            <pc:sldMk cId="1093390358" sldId="266"/>
            <ac:spMk id="9" creationId="{76738FFD-C196-432A-8711-1E6436787A09}"/>
          </ac:spMkLst>
        </pc:spChg>
        <pc:picChg chg="del">
          <ac:chgData name="Gilles CLAUSSE" userId="daf015cd-b8c1-4a32-b859-aa2374c3d361" providerId="ADAL" clId="{15468796-07DE-42D0-B5D2-DEDB5DE087A0}" dt="2021-04-30T12:25:28.531" v="1057" actId="478"/>
          <ac:picMkLst>
            <pc:docMk/>
            <pc:sldMk cId="1093390358" sldId="266"/>
            <ac:picMk id="7" creationId="{C76411E2-0CB9-47A0-9C6C-75820331C1B1}"/>
          </ac:picMkLst>
        </pc:picChg>
      </pc:sldChg>
      <pc:sldChg chg="modSp add">
        <pc:chgData name="Gilles CLAUSSE" userId="daf015cd-b8c1-4a32-b859-aa2374c3d361" providerId="ADAL" clId="{15468796-07DE-42D0-B5D2-DEDB5DE087A0}" dt="2021-04-30T12:26:56.402" v="1063" actId="113"/>
        <pc:sldMkLst>
          <pc:docMk/>
          <pc:sldMk cId="3343359515" sldId="267"/>
        </pc:sldMkLst>
        <pc:spChg chg="mod">
          <ac:chgData name="Gilles CLAUSSE" userId="daf015cd-b8c1-4a32-b859-aa2374c3d361" providerId="ADAL" clId="{15468796-07DE-42D0-B5D2-DEDB5DE087A0}" dt="2021-04-30T12:26:56.402" v="1063" actId="113"/>
          <ac:spMkLst>
            <pc:docMk/>
            <pc:sldMk cId="3343359515" sldId="267"/>
            <ac:spMk id="3" creationId="{C258CF02-664C-4E4E-8D7C-51AC8F67602F}"/>
          </ac:spMkLst>
        </pc:spChg>
      </pc:sldChg>
      <pc:sldChg chg="addSp delSp modSp add">
        <pc:chgData name="Gilles CLAUSSE" userId="daf015cd-b8c1-4a32-b859-aa2374c3d361" providerId="ADAL" clId="{15468796-07DE-42D0-B5D2-DEDB5DE087A0}" dt="2021-04-30T12:34:28.341" v="1294"/>
        <pc:sldMkLst>
          <pc:docMk/>
          <pc:sldMk cId="737783243" sldId="268"/>
        </pc:sldMkLst>
        <pc:spChg chg="mod">
          <ac:chgData name="Gilles CLAUSSE" userId="daf015cd-b8c1-4a32-b859-aa2374c3d361" providerId="ADAL" clId="{15468796-07DE-42D0-B5D2-DEDB5DE087A0}" dt="2021-04-30T12:34:28.244" v="1291" actId="1076"/>
          <ac:spMkLst>
            <pc:docMk/>
            <pc:sldMk cId="737783243" sldId="268"/>
            <ac:spMk id="2" creationId="{3FF0F3B8-4364-429E-A376-9A30880873B0}"/>
          </ac:spMkLst>
        </pc:spChg>
        <pc:spChg chg="mod">
          <ac:chgData name="Gilles CLAUSSE" userId="daf015cd-b8c1-4a32-b859-aa2374c3d361" providerId="ADAL" clId="{15468796-07DE-42D0-B5D2-DEDB5DE087A0}" dt="2021-04-30T12:34:22.882" v="1284" actId="20577"/>
          <ac:spMkLst>
            <pc:docMk/>
            <pc:sldMk cId="737783243" sldId="268"/>
            <ac:spMk id="3" creationId="{C258CF02-664C-4E4E-8D7C-51AC8F67602F}"/>
          </ac:spMkLst>
        </pc:spChg>
        <pc:spChg chg="mod">
          <ac:chgData name="Gilles CLAUSSE" userId="daf015cd-b8c1-4a32-b859-aa2374c3d361" providerId="ADAL" clId="{15468796-07DE-42D0-B5D2-DEDB5DE087A0}" dt="2021-04-30T12:27:27.378" v="1156" actId="6549"/>
          <ac:spMkLst>
            <pc:docMk/>
            <pc:sldMk cId="737783243" sldId="268"/>
            <ac:spMk id="5" creationId="{A3421D35-B2B6-4C8C-B4DD-241ACC51CB49}"/>
          </ac:spMkLst>
        </pc:spChg>
        <pc:spChg chg="add del">
          <ac:chgData name="Gilles CLAUSSE" userId="daf015cd-b8c1-4a32-b859-aa2374c3d361" providerId="ADAL" clId="{15468796-07DE-42D0-B5D2-DEDB5DE087A0}" dt="2021-04-30T12:29:37.264" v="1188"/>
          <ac:spMkLst>
            <pc:docMk/>
            <pc:sldMk cId="737783243" sldId="268"/>
            <ac:spMk id="7" creationId="{8F72A661-0503-4C79-AD81-DA9ADB4BEC83}"/>
          </ac:spMkLst>
        </pc:spChg>
        <pc:spChg chg="add del">
          <ac:chgData name="Gilles CLAUSSE" userId="daf015cd-b8c1-4a32-b859-aa2374c3d361" providerId="ADAL" clId="{15468796-07DE-42D0-B5D2-DEDB5DE087A0}" dt="2021-04-30T12:29:37.264" v="1188"/>
          <ac:spMkLst>
            <pc:docMk/>
            <pc:sldMk cId="737783243" sldId="268"/>
            <ac:spMk id="8" creationId="{A99A0559-7810-45F1-B838-45184364E1DE}"/>
          </ac:spMkLst>
        </pc:spChg>
        <pc:spChg chg="add mod">
          <ac:chgData name="Gilles CLAUSSE" userId="daf015cd-b8c1-4a32-b859-aa2374c3d361" providerId="ADAL" clId="{15468796-07DE-42D0-B5D2-DEDB5DE087A0}" dt="2021-04-30T12:29:41.942" v="1191" actId="1076"/>
          <ac:spMkLst>
            <pc:docMk/>
            <pc:sldMk cId="737783243" sldId="268"/>
            <ac:spMk id="9" creationId="{5C88AF8A-5A09-4245-99C2-16B12BA542B6}"/>
          </ac:spMkLst>
        </pc:spChg>
        <pc:spChg chg="add del mod">
          <ac:chgData name="Gilles CLAUSSE" userId="daf015cd-b8c1-4a32-b859-aa2374c3d361" providerId="ADAL" clId="{15468796-07DE-42D0-B5D2-DEDB5DE087A0}" dt="2021-04-30T12:32:41.653" v="1236" actId="478"/>
          <ac:spMkLst>
            <pc:docMk/>
            <pc:sldMk cId="737783243" sldId="268"/>
            <ac:spMk id="10" creationId="{5D54DC4E-6410-4283-934E-F39F637434AD}"/>
          </ac:spMkLst>
        </pc:spChg>
        <pc:spChg chg="add del mod">
          <ac:chgData name="Gilles CLAUSSE" userId="daf015cd-b8c1-4a32-b859-aa2374c3d361" providerId="ADAL" clId="{15468796-07DE-42D0-B5D2-DEDB5DE087A0}" dt="2021-04-30T12:34:23.397" v="1285" actId="478"/>
          <ac:spMkLst>
            <pc:docMk/>
            <pc:sldMk cId="737783243" sldId="268"/>
            <ac:spMk id="11" creationId="{40AB5AC0-21A2-4A51-A4FE-802F362FCD28}"/>
          </ac:spMkLst>
        </pc:spChg>
        <pc:spChg chg="add del mod">
          <ac:chgData name="Gilles CLAUSSE" userId="daf015cd-b8c1-4a32-b859-aa2374c3d361" providerId="ADAL" clId="{15468796-07DE-42D0-B5D2-DEDB5DE087A0}" dt="2021-04-30T12:34:20.465" v="1278"/>
          <ac:spMkLst>
            <pc:docMk/>
            <pc:sldMk cId="737783243" sldId="268"/>
            <ac:spMk id="12" creationId="{57A99D43-726B-4A19-964F-4B9F7BD04E24}"/>
          </ac:spMkLst>
        </pc:spChg>
        <pc:graphicFrameChg chg="mod">
          <ac:chgData name="Gilles CLAUSSE" userId="daf015cd-b8c1-4a32-b859-aa2374c3d361" providerId="ADAL" clId="{15468796-07DE-42D0-B5D2-DEDB5DE087A0}" dt="2021-04-30T12:34:28.341" v="1294"/>
          <ac:graphicFrameMkLst>
            <pc:docMk/>
            <pc:sldMk cId="737783243" sldId="268"/>
            <ac:graphicFrameMk id="4" creationId="{B3D013B6-2BCC-472E-A78D-785CA3A7E4B5}"/>
          </ac:graphicFrameMkLst>
        </pc:graphicFrameChg>
        <pc:picChg chg="add mod">
          <ac:chgData name="Gilles CLAUSSE" userId="daf015cd-b8c1-4a32-b859-aa2374c3d361" providerId="ADAL" clId="{15468796-07DE-42D0-B5D2-DEDB5DE087A0}" dt="2021-04-30T12:30:36.918" v="1199" actId="1076"/>
          <ac:picMkLst>
            <pc:docMk/>
            <pc:sldMk cId="737783243" sldId="268"/>
            <ac:picMk id="13" creationId="{983DD4F7-A8FE-4184-9B77-CD3DAE53DE97}"/>
          </ac:picMkLst>
        </pc:picChg>
        <pc:picChg chg="add mod">
          <ac:chgData name="Gilles CLAUSSE" userId="daf015cd-b8c1-4a32-b859-aa2374c3d361" providerId="ADAL" clId="{15468796-07DE-42D0-B5D2-DEDB5DE087A0}" dt="2021-04-30T12:34:22.263" v="1283" actId="1076"/>
          <ac:picMkLst>
            <pc:docMk/>
            <pc:sldMk cId="737783243" sldId="268"/>
            <ac:picMk id="15" creationId="{D7A7EAF0-87A9-4493-ACF8-169A315B44DE}"/>
          </ac:picMkLst>
        </pc:picChg>
        <pc:picChg chg="add del">
          <ac:chgData name="Gilles CLAUSSE" userId="daf015cd-b8c1-4a32-b859-aa2374c3d361" providerId="ADAL" clId="{15468796-07DE-42D0-B5D2-DEDB5DE087A0}" dt="2021-04-30T12:29:37.264" v="1188"/>
          <ac:picMkLst>
            <pc:docMk/>
            <pc:sldMk cId="737783243" sldId="268"/>
            <ac:picMk id="8193" creationId="{63F69A47-BB9F-486B-9EA2-E046E44F90E7}"/>
          </ac:picMkLst>
        </pc:picChg>
        <pc:picChg chg="add del mod">
          <ac:chgData name="Gilles CLAUSSE" userId="daf015cd-b8c1-4a32-b859-aa2374c3d361" providerId="ADAL" clId="{15468796-07DE-42D0-B5D2-DEDB5DE087A0}" dt="2021-04-30T12:34:23.741" v="1286" actId="478"/>
          <ac:picMkLst>
            <pc:docMk/>
            <pc:sldMk cId="737783243" sldId="268"/>
            <ac:picMk id="8196" creationId="{1C3FCAFF-6A99-4C13-8E35-CCD239FC494C}"/>
          </ac:picMkLst>
        </pc:picChg>
      </pc:sldChg>
      <pc:sldChg chg="addSp delSp modSp add">
        <pc:chgData name="Gilles CLAUSSE" userId="daf015cd-b8c1-4a32-b859-aa2374c3d361" providerId="ADAL" clId="{15468796-07DE-42D0-B5D2-DEDB5DE087A0}" dt="2021-04-30T12:37:02.138" v="1365"/>
        <pc:sldMkLst>
          <pc:docMk/>
          <pc:sldMk cId="1953639072" sldId="269"/>
        </pc:sldMkLst>
        <pc:spChg chg="mod">
          <ac:chgData name="Gilles CLAUSSE" userId="daf015cd-b8c1-4a32-b859-aa2374c3d361" providerId="ADAL" clId="{15468796-07DE-42D0-B5D2-DEDB5DE087A0}" dt="2021-04-30T12:37:01.614" v="1363" actId="1076"/>
          <ac:spMkLst>
            <pc:docMk/>
            <pc:sldMk cId="1953639072" sldId="269"/>
            <ac:spMk id="2" creationId="{3FF0F3B8-4364-429E-A376-9A30880873B0}"/>
          </ac:spMkLst>
        </pc:spChg>
        <pc:spChg chg="mod">
          <ac:chgData name="Gilles CLAUSSE" userId="daf015cd-b8c1-4a32-b859-aa2374c3d361" providerId="ADAL" clId="{15468796-07DE-42D0-B5D2-DEDB5DE087A0}" dt="2021-04-30T12:36:22.801" v="1318" actId="5793"/>
          <ac:spMkLst>
            <pc:docMk/>
            <pc:sldMk cId="1953639072" sldId="269"/>
            <ac:spMk id="3" creationId="{C258CF02-664C-4E4E-8D7C-51AC8F67602F}"/>
          </ac:spMkLst>
        </pc:spChg>
        <pc:spChg chg="mod">
          <ac:chgData name="Gilles CLAUSSE" userId="daf015cd-b8c1-4a32-b859-aa2374c3d361" providerId="ADAL" clId="{15468796-07DE-42D0-B5D2-DEDB5DE087A0}" dt="2021-04-30T12:36:55.863" v="1358" actId="6549"/>
          <ac:spMkLst>
            <pc:docMk/>
            <pc:sldMk cId="1953639072" sldId="269"/>
            <ac:spMk id="5" creationId="{A3421D35-B2B6-4C8C-B4DD-241ACC51CB49}"/>
          </ac:spMkLst>
        </pc:spChg>
        <pc:spChg chg="add mod">
          <ac:chgData name="Gilles CLAUSSE" userId="daf015cd-b8c1-4a32-b859-aa2374c3d361" providerId="ADAL" clId="{15468796-07DE-42D0-B5D2-DEDB5DE087A0}" dt="2021-04-30T12:36:05.470" v="1308" actId="1076"/>
          <ac:spMkLst>
            <pc:docMk/>
            <pc:sldMk cId="1953639072" sldId="269"/>
            <ac:spMk id="7" creationId="{D8E99290-63B9-4B0D-BF60-CE27E5C24F26}"/>
          </ac:spMkLst>
        </pc:spChg>
        <pc:spChg chg="del mod">
          <ac:chgData name="Gilles CLAUSSE" userId="daf015cd-b8c1-4a32-b859-aa2374c3d361" providerId="ADAL" clId="{15468796-07DE-42D0-B5D2-DEDB5DE087A0}" dt="2021-04-30T12:36:58.599" v="1362" actId="478"/>
          <ac:spMkLst>
            <pc:docMk/>
            <pc:sldMk cId="1953639072" sldId="269"/>
            <ac:spMk id="10" creationId="{5D54DC4E-6410-4283-934E-F39F637434AD}"/>
          </ac:spMkLst>
        </pc:spChg>
        <pc:graphicFrameChg chg="mod">
          <ac:chgData name="Gilles CLAUSSE" userId="daf015cd-b8c1-4a32-b859-aa2374c3d361" providerId="ADAL" clId="{15468796-07DE-42D0-B5D2-DEDB5DE087A0}" dt="2021-04-30T12:37:02.138" v="1365"/>
          <ac:graphicFrameMkLst>
            <pc:docMk/>
            <pc:sldMk cId="1953639072" sldId="269"/>
            <ac:graphicFrameMk id="4" creationId="{B3D013B6-2BCC-472E-A78D-785CA3A7E4B5}"/>
          </ac:graphicFrameMkLst>
        </pc:graphicFrameChg>
        <pc:picChg chg="add mod">
          <ac:chgData name="Gilles CLAUSSE" userId="daf015cd-b8c1-4a32-b859-aa2374c3d361" providerId="ADAL" clId="{15468796-07DE-42D0-B5D2-DEDB5DE087A0}" dt="2021-04-30T12:36:02.878" v="1307" actId="1076"/>
          <ac:picMkLst>
            <pc:docMk/>
            <pc:sldMk cId="1953639072" sldId="269"/>
            <ac:picMk id="11" creationId="{4802BF49-3DFC-462F-AB6F-B466E9914E6B}"/>
          </ac:picMkLst>
        </pc:picChg>
        <pc:picChg chg="del">
          <ac:chgData name="Gilles CLAUSSE" userId="daf015cd-b8c1-4a32-b859-aa2374c3d361" providerId="ADAL" clId="{15468796-07DE-42D0-B5D2-DEDB5DE087A0}" dt="2021-04-30T12:34:49.941" v="1295" actId="478"/>
          <ac:picMkLst>
            <pc:docMk/>
            <pc:sldMk cId="1953639072" sldId="269"/>
            <ac:picMk id="8196" creationId="{1C3FCAFF-6A99-4C13-8E35-CCD239FC494C}"/>
          </ac:picMkLst>
        </pc:picChg>
      </pc:sldChg>
      <pc:sldChg chg="delSp modSp add">
        <pc:chgData name="Gilles CLAUSSE" userId="daf015cd-b8c1-4a32-b859-aa2374c3d361" providerId="ADAL" clId="{15468796-07DE-42D0-B5D2-DEDB5DE087A0}" dt="2021-04-30T12:53:16.693" v="1373" actId="15"/>
        <pc:sldMkLst>
          <pc:docMk/>
          <pc:sldMk cId="3042985506" sldId="270"/>
        </pc:sldMkLst>
        <pc:spChg chg="mod">
          <ac:chgData name="Gilles CLAUSSE" userId="daf015cd-b8c1-4a32-b859-aa2374c3d361" providerId="ADAL" clId="{15468796-07DE-42D0-B5D2-DEDB5DE087A0}" dt="2021-04-30T12:36:51.294" v="1334" actId="1076"/>
          <ac:spMkLst>
            <pc:docMk/>
            <pc:sldMk cId="3042985506" sldId="270"/>
            <ac:spMk id="2" creationId="{3FF0F3B8-4364-429E-A376-9A30880873B0}"/>
          </ac:spMkLst>
        </pc:spChg>
        <pc:spChg chg="mod">
          <ac:chgData name="Gilles CLAUSSE" userId="daf015cd-b8c1-4a32-b859-aa2374c3d361" providerId="ADAL" clId="{15468796-07DE-42D0-B5D2-DEDB5DE087A0}" dt="2021-04-30T12:53:16.693" v="1373" actId="15"/>
          <ac:spMkLst>
            <pc:docMk/>
            <pc:sldMk cId="3042985506" sldId="270"/>
            <ac:spMk id="3" creationId="{C258CF02-664C-4E4E-8D7C-51AC8F67602F}"/>
          </ac:spMkLst>
        </pc:spChg>
        <pc:spChg chg="del">
          <ac:chgData name="Gilles CLAUSSE" userId="daf015cd-b8c1-4a32-b859-aa2374c3d361" providerId="ADAL" clId="{15468796-07DE-42D0-B5D2-DEDB5DE087A0}" dt="2021-04-30T12:53:05.805" v="1370" actId="478"/>
          <ac:spMkLst>
            <pc:docMk/>
            <pc:sldMk cId="3042985506" sldId="270"/>
            <ac:spMk id="7" creationId="{D8E99290-63B9-4B0D-BF60-CE27E5C24F26}"/>
          </ac:spMkLst>
        </pc:spChg>
        <pc:spChg chg="del mod">
          <ac:chgData name="Gilles CLAUSSE" userId="daf015cd-b8c1-4a32-b859-aa2374c3d361" providerId="ADAL" clId="{15468796-07DE-42D0-B5D2-DEDB5DE087A0}" dt="2021-04-30T12:36:47.111" v="1333" actId="478"/>
          <ac:spMkLst>
            <pc:docMk/>
            <pc:sldMk cId="3042985506" sldId="270"/>
            <ac:spMk id="10" creationId="{5D54DC4E-6410-4283-934E-F39F637434AD}"/>
          </ac:spMkLst>
        </pc:spChg>
        <pc:graphicFrameChg chg="mod">
          <ac:chgData name="Gilles CLAUSSE" userId="daf015cd-b8c1-4a32-b859-aa2374c3d361" providerId="ADAL" clId="{15468796-07DE-42D0-B5D2-DEDB5DE087A0}" dt="2021-04-30T12:36:51.821" v="1336"/>
          <ac:graphicFrameMkLst>
            <pc:docMk/>
            <pc:sldMk cId="3042985506" sldId="270"/>
            <ac:graphicFrameMk id="4" creationId="{B3D013B6-2BCC-472E-A78D-785CA3A7E4B5}"/>
          </ac:graphicFrameMkLst>
        </pc:graphicFrameChg>
        <pc:picChg chg="del">
          <ac:chgData name="Gilles CLAUSSE" userId="daf015cd-b8c1-4a32-b859-aa2374c3d361" providerId="ADAL" clId="{15468796-07DE-42D0-B5D2-DEDB5DE087A0}" dt="2021-04-30T12:52:35.644" v="1366" actId="478"/>
          <ac:picMkLst>
            <pc:docMk/>
            <pc:sldMk cId="3042985506" sldId="270"/>
            <ac:picMk id="11" creationId="{4802BF49-3DFC-462F-AB6F-B466E9914E6B}"/>
          </ac:picMkLst>
        </pc:picChg>
      </pc:sldChg>
      <pc:sldChg chg="addSp delSp modSp add">
        <pc:chgData name="Gilles CLAUSSE" userId="daf015cd-b8c1-4a32-b859-aa2374c3d361" providerId="ADAL" clId="{15468796-07DE-42D0-B5D2-DEDB5DE087A0}" dt="2021-05-01T11:34:47.815" v="1392"/>
        <pc:sldMkLst>
          <pc:docMk/>
          <pc:sldMk cId="4030138792" sldId="271"/>
        </pc:sldMkLst>
        <pc:spChg chg="mod">
          <ac:chgData name="Gilles CLAUSSE" userId="daf015cd-b8c1-4a32-b859-aa2374c3d361" providerId="ADAL" clId="{15468796-07DE-42D0-B5D2-DEDB5DE087A0}" dt="2021-05-01T11:33:00.640" v="1384" actId="20577"/>
          <ac:spMkLst>
            <pc:docMk/>
            <pc:sldMk cId="4030138792" sldId="271"/>
            <ac:spMk id="2" creationId="{3FF0F3B8-4364-429E-A376-9A30880873B0}"/>
          </ac:spMkLst>
        </pc:spChg>
        <pc:spChg chg="mod">
          <ac:chgData name="Gilles CLAUSSE" userId="daf015cd-b8c1-4a32-b859-aa2374c3d361" providerId="ADAL" clId="{15468796-07DE-42D0-B5D2-DEDB5DE087A0}" dt="2021-05-01T11:34:36.035" v="1390" actId="27636"/>
          <ac:spMkLst>
            <pc:docMk/>
            <pc:sldMk cId="4030138792" sldId="271"/>
            <ac:spMk id="3" creationId="{C258CF02-664C-4E4E-8D7C-51AC8F67602F}"/>
          </ac:spMkLst>
        </pc:spChg>
        <pc:spChg chg="add del">
          <ac:chgData name="Gilles CLAUSSE" userId="daf015cd-b8c1-4a32-b859-aa2374c3d361" providerId="ADAL" clId="{15468796-07DE-42D0-B5D2-DEDB5DE087A0}" dt="2021-05-01T11:34:47.815" v="1392"/>
          <ac:spMkLst>
            <pc:docMk/>
            <pc:sldMk cId="4030138792" sldId="271"/>
            <ac:spMk id="7" creationId="{838EB7D1-62E6-43FB-95DE-FDCD076B27D6}"/>
          </ac:spMkLst>
        </pc:spChg>
        <pc:graphicFrameChg chg="mod">
          <ac:chgData name="Gilles CLAUSSE" userId="daf015cd-b8c1-4a32-b859-aa2374c3d361" providerId="ADAL" clId="{15468796-07DE-42D0-B5D2-DEDB5DE087A0}" dt="2021-05-01T11:33:01.179" v="1386"/>
          <ac:graphicFrameMkLst>
            <pc:docMk/>
            <pc:sldMk cId="4030138792" sldId="271"/>
            <ac:graphicFrameMk id="4" creationId="{B3D013B6-2BCC-472E-A78D-785CA3A7E4B5}"/>
          </ac:graphicFrameMkLst>
        </pc:graphicFrameChg>
      </pc:sldChg>
      <pc:sldChg chg="modSp add">
        <pc:chgData name="Gilles CLAUSSE" userId="daf015cd-b8c1-4a32-b859-aa2374c3d361" providerId="ADAL" clId="{15468796-07DE-42D0-B5D2-DEDB5DE087A0}" dt="2021-05-01T11:36:44.852" v="1416" actId="15"/>
        <pc:sldMkLst>
          <pc:docMk/>
          <pc:sldMk cId="2796642502" sldId="272"/>
        </pc:sldMkLst>
        <pc:spChg chg="mod">
          <ac:chgData name="Gilles CLAUSSE" userId="daf015cd-b8c1-4a32-b859-aa2374c3d361" providerId="ADAL" clId="{15468796-07DE-42D0-B5D2-DEDB5DE087A0}" dt="2021-05-01T11:34:57.871" v="1411" actId="20577"/>
          <ac:spMkLst>
            <pc:docMk/>
            <pc:sldMk cId="2796642502" sldId="272"/>
            <ac:spMk id="2" creationId="{3FF0F3B8-4364-429E-A376-9A30880873B0}"/>
          </ac:spMkLst>
        </pc:spChg>
        <pc:spChg chg="mod">
          <ac:chgData name="Gilles CLAUSSE" userId="daf015cd-b8c1-4a32-b859-aa2374c3d361" providerId="ADAL" clId="{15468796-07DE-42D0-B5D2-DEDB5DE087A0}" dt="2021-05-01T11:36:44.852" v="1416" actId="15"/>
          <ac:spMkLst>
            <pc:docMk/>
            <pc:sldMk cId="2796642502" sldId="272"/>
            <ac:spMk id="3" creationId="{C258CF02-664C-4E4E-8D7C-51AC8F67602F}"/>
          </ac:spMkLst>
        </pc:spChg>
        <pc:graphicFrameChg chg="mod">
          <ac:chgData name="Gilles CLAUSSE" userId="daf015cd-b8c1-4a32-b859-aa2374c3d361" providerId="ADAL" clId="{15468796-07DE-42D0-B5D2-DEDB5DE087A0}" dt="2021-05-01T11:34:58.383" v="1413"/>
          <ac:graphicFrameMkLst>
            <pc:docMk/>
            <pc:sldMk cId="2796642502" sldId="272"/>
            <ac:graphicFrameMk id="4" creationId="{B3D013B6-2BCC-472E-A78D-785CA3A7E4B5}"/>
          </ac:graphicFrameMkLst>
        </pc:graphicFrameChg>
      </pc:sldChg>
      <pc:sldMasterChg chg="addSp modSp">
        <pc:chgData name="Gilles CLAUSSE" userId="daf015cd-b8c1-4a32-b859-aa2374c3d361" providerId="ADAL" clId="{15468796-07DE-42D0-B5D2-DEDB5DE087A0}" dt="2021-04-29T19:55:03.629" v="52" actId="20577"/>
        <pc:sldMasterMkLst>
          <pc:docMk/>
          <pc:sldMasterMk cId="3460293784" sldId="2147483672"/>
        </pc:sldMasterMkLst>
        <pc:spChg chg="mod">
          <ac:chgData name="Gilles CLAUSSE" userId="daf015cd-b8c1-4a32-b859-aa2374c3d361" providerId="ADAL" clId="{15468796-07DE-42D0-B5D2-DEDB5DE087A0}" dt="2021-04-29T19:55:03.629" v="52" actId="20577"/>
          <ac:spMkLst>
            <pc:docMk/>
            <pc:sldMasterMk cId="3460293784" sldId="2147483672"/>
            <ac:spMk id="21" creationId="{00000000-0000-0000-0000-000000000000}"/>
          </ac:spMkLst>
        </pc:spChg>
        <pc:spChg chg="add">
          <ac:chgData name="Gilles CLAUSSE" userId="daf015cd-b8c1-4a32-b859-aa2374c3d361" providerId="ADAL" clId="{15468796-07DE-42D0-B5D2-DEDB5DE087A0}" dt="2021-04-29T19:55:02.912" v="51"/>
          <ac:spMkLst>
            <pc:docMk/>
            <pc:sldMasterMk cId="3460293784" sldId="2147483672"/>
            <ac:spMk id="23" creationId="{B47DC358-D26B-4DEE-A1A9-B84573DCF3E8}"/>
          </ac:spMkLst>
        </pc:spChg>
        <pc:graphicFrameChg chg="add">
          <ac:chgData name="Gilles CLAUSSE" userId="daf015cd-b8c1-4a32-b859-aa2374c3d361" providerId="ADAL" clId="{15468796-07DE-42D0-B5D2-DEDB5DE087A0}" dt="2021-04-29T19:55:02.912" v="51"/>
          <ac:graphicFrameMkLst>
            <pc:docMk/>
            <pc:sldMasterMk cId="3460293784" sldId="2147483672"/>
            <ac:graphicFrameMk id="22" creationId="{9564626A-E478-4021-8FED-F7A5C7D59A88}"/>
          </ac:graphicFrameMkLst>
        </pc:graphicFrame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0"/>
            <a:ext cx="12192000" cy="6858000"/>
            <a:chOff x="0" y="0"/>
            <a:chExt cx="12192000" cy="6858000"/>
          </a:xfrm>
        </p:grpSpPr>
        <p:sp>
          <p:nvSpPr>
            <p:cNvPr id="9" name="Rectangle 8"/>
            <p:cNvSpPr/>
            <p:nvPr/>
          </p:nvSpPr>
          <p:spPr>
            <a:xfrm>
              <a:off x="0" y="0"/>
              <a:ext cx="12192000" cy="6858000"/>
            </a:xfrm>
            <a:prstGeom prst="rect">
              <a:avLst/>
            </a:prstGeom>
            <a:blipFill>
              <a:blip r:embed="rId2">
                <a:duotone>
                  <a:schemeClr val="dk2">
                    <a:shade val="69000"/>
                    <a:hueMod val="91000"/>
                    <a:satMod val="164000"/>
                    <a:lumMod val="74000"/>
                  </a:schemeClr>
                  <a:schemeClr val="dk2">
                    <a:hueMod val="124000"/>
                    <a:satMod val="140000"/>
                    <a:lumMod val="14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ctrTitle"/>
          </p:nvPr>
        </p:nvSpPr>
        <p:spPr>
          <a:xfrm>
            <a:off x="1154955" y="2099733"/>
            <a:ext cx="8825658" cy="2677648"/>
          </a:xfrm>
        </p:spPr>
        <p:txBody>
          <a:bodyPr anchor="b"/>
          <a:lstStyle>
            <a:lvl1pPr>
              <a:defRPr sz="5400"/>
            </a:lvl1pPr>
          </a:lstStyle>
          <a:p>
            <a:r>
              <a:rPr lang="en-US"/>
              <a:t>Click to edit Master title style</a:t>
            </a:r>
            <a:endParaRPr lang="en-US" dirty="0"/>
          </a:p>
        </p:txBody>
      </p:sp>
      <p:sp>
        <p:nvSpPr>
          <p:cNvPr id="3" name="Subtitle 2"/>
          <p:cNvSpPr>
            <a:spLocks noGrp="1"/>
          </p:cNvSpPr>
          <p:nvPr>
            <p:ph type="subTitle" idx="1"/>
          </p:nvPr>
        </p:nvSpPr>
        <p:spPr bwMode="gray">
          <a:xfrm>
            <a:off x="1154955" y="4777380"/>
            <a:ext cx="8825658" cy="861420"/>
          </a:xfrm>
        </p:spPr>
        <p:txBody>
          <a:bodyPr anchor="t"/>
          <a:lstStyle>
            <a:lvl1pPr marL="0" indent="0" algn="l">
              <a:buNone/>
              <a:defRPr cap="all">
                <a:solidFill>
                  <a:schemeClr val="accent1">
                    <a:lumMod val="60000"/>
                    <a:lumOff val="4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a:xfrm rot="5400000">
            <a:off x="10158984" y="1792224"/>
            <a:ext cx="990599" cy="304799"/>
          </a:xfrm>
        </p:spPr>
        <p:txBody>
          <a:bodyPr anchor="t"/>
          <a:lstStyle>
            <a:lvl1pPr algn="l">
              <a:defRPr b="0" i="0">
                <a:solidFill>
                  <a:schemeClr val="bg1">
                    <a:alpha val="60000"/>
                  </a:schemeClr>
                </a:solidFill>
              </a:defRPr>
            </a:lvl1pPr>
          </a:lstStyle>
          <a:p>
            <a:fld id="{01394FE8-C606-4CBA-9305-967D4B2DCB84}" type="datetimeFigureOut">
              <a:rPr lang="en-GB" smtClean="0"/>
              <a:t>30/04/2021</a:t>
            </a:fld>
            <a:endParaRPr lang="en-GB"/>
          </a:p>
        </p:txBody>
      </p:sp>
      <p:sp>
        <p:nvSpPr>
          <p:cNvPr id="5" name="Footer Placeholder 4"/>
          <p:cNvSpPr>
            <a:spLocks noGrp="1"/>
          </p:cNvSpPr>
          <p:nvPr>
            <p:ph type="ftr" sz="quarter" idx="11"/>
          </p:nvPr>
        </p:nvSpPr>
        <p:spPr bwMode="gray">
          <a:xfrm rot="5400000">
            <a:off x="8951976" y="3227832"/>
            <a:ext cx="3859795" cy="304801"/>
          </a:xfrm>
        </p:spPr>
        <p:txBody>
          <a:bodyPr/>
          <a:lstStyle>
            <a:lvl1pPr>
              <a:defRPr b="0" i="0">
                <a:solidFill>
                  <a:schemeClr val="bg1">
                    <a:alpha val="60000"/>
                  </a:schemeClr>
                </a:solidFill>
              </a:defRPr>
            </a:lvl1pPr>
          </a:lstStyle>
          <a:p>
            <a:endParaRPr lang="en-GB"/>
          </a:p>
        </p:txBody>
      </p:sp>
      <p:sp>
        <p:nvSpPr>
          <p:cNvPr id="11" name="Rectangle 10"/>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12" name="Slide Number Placeholder 5"/>
          <p:cNvSpPr>
            <a:spLocks noGrp="1"/>
          </p:cNvSpPr>
          <p:nvPr>
            <p:ph type="sldNum" sz="quarter" idx="12"/>
          </p:nvPr>
        </p:nvSpPr>
        <p:spPr>
          <a:xfrm>
            <a:off x="10352540" y="295729"/>
            <a:ext cx="838199" cy="767687"/>
          </a:xfrm>
        </p:spPr>
        <p:txBody>
          <a:bodyPr/>
          <a:lstStyle/>
          <a:p>
            <a:fld id="{6116B4E6-A90E-4A9C-A80E-032C75B95B5F}" type="slidenum">
              <a:rPr lang="en-GB" smtClean="0"/>
              <a:t>‹#›</a:t>
            </a:fld>
            <a:endParaRPr lang="en-GB"/>
          </a:p>
        </p:txBody>
      </p:sp>
    </p:spTree>
    <p:extLst>
      <p:ext uri="{BB962C8B-B14F-4D97-AF65-F5344CB8AC3E}">
        <p14:creationId xmlns:p14="http://schemas.microsoft.com/office/powerpoint/2010/main" val="42413534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grpSp>
        <p:nvGrpSpPr>
          <p:cNvPr id="9" name="Group 8"/>
          <p:cNvGrpSpPr/>
          <p:nvPr/>
        </p:nvGrpSpPr>
        <p:grpSpPr>
          <a:xfrm>
            <a:off x="0" y="0"/>
            <a:ext cx="12192000" cy="6858000"/>
            <a:chOff x="0" y="0"/>
            <a:chExt cx="12192000" cy="6858000"/>
          </a:xfrm>
        </p:grpSpPr>
        <p:sp>
          <p:nvSpPr>
            <p:cNvPr id="13" name="Rectangle 12"/>
            <p:cNvSpPr/>
            <p:nvPr/>
          </p:nvSpPr>
          <p:spPr>
            <a:xfrm>
              <a:off x="0" y="0"/>
              <a:ext cx="12192000" cy="6858000"/>
            </a:xfrm>
            <a:prstGeom prst="rect">
              <a:avLst/>
            </a:prstGeom>
            <a:blipFill>
              <a:blip r:embed="rId2">
                <a:duotone>
                  <a:schemeClr val="dk2">
                    <a:shade val="69000"/>
                    <a:hueMod val="91000"/>
                    <a:satMod val="164000"/>
                    <a:lumMod val="74000"/>
                  </a:schemeClr>
                  <a:schemeClr val="dk2">
                    <a:hueMod val="124000"/>
                    <a:satMod val="140000"/>
                    <a:lumMod val="14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Oval 16"/>
            <p:cNvSpPr/>
            <p:nvPr/>
          </p:nvSpPr>
          <p:spPr>
            <a:xfrm>
              <a:off x="0"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0" name="Oval 19"/>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1" name="Oval 20"/>
            <p:cNvSpPr/>
            <p:nvPr/>
          </p:nvSpPr>
          <p:spPr>
            <a:xfrm>
              <a:off x="7999412" y="8464"/>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4" name="Freeform 5"/>
            <p:cNvSpPr/>
            <p:nvPr/>
          </p:nvSpPr>
          <p:spPr bwMode="gray">
            <a:xfrm rot="10371525">
              <a:off x="263767" y="4438254"/>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1" name="Freeform 5"/>
            <p:cNvSpPr/>
            <p:nvPr/>
          </p:nvSpPr>
          <p:spPr bwMode="gray">
            <a:xfrm rot="10800000">
              <a:off x="459506" y="321130"/>
              <a:ext cx="11277600" cy="4533900"/>
            </a:xfrm>
            <a:custGeom>
              <a:avLst/>
              <a:gdLst/>
              <a:ahLst/>
              <a:cxnLst/>
              <a:rect l="0" t="0" r="r" b="b"/>
              <a:pathLst>
                <a:path w="7104" h="2856">
                  <a:moveTo>
                    <a:pt x="0" y="0"/>
                  </a:moveTo>
                  <a:lnTo>
                    <a:pt x="0" y="2856"/>
                  </a:lnTo>
                  <a:lnTo>
                    <a:pt x="7104" y="2856"/>
                  </a:lnTo>
                  <a:lnTo>
                    <a:pt x="7104" y="1"/>
                  </a:lnTo>
                  <a:lnTo>
                    <a:pt x="7104" y="1"/>
                  </a:lnTo>
                  <a:lnTo>
                    <a:pt x="6943" y="26"/>
                  </a:lnTo>
                  <a:lnTo>
                    <a:pt x="6782" y="50"/>
                  </a:lnTo>
                  <a:lnTo>
                    <a:pt x="6621" y="73"/>
                  </a:lnTo>
                  <a:lnTo>
                    <a:pt x="6459" y="93"/>
                  </a:lnTo>
                  <a:lnTo>
                    <a:pt x="6298" y="113"/>
                  </a:lnTo>
                  <a:lnTo>
                    <a:pt x="6136" y="132"/>
                  </a:lnTo>
                  <a:lnTo>
                    <a:pt x="5976" y="148"/>
                  </a:lnTo>
                  <a:lnTo>
                    <a:pt x="5814" y="163"/>
                  </a:lnTo>
                  <a:lnTo>
                    <a:pt x="5653" y="177"/>
                  </a:lnTo>
                  <a:lnTo>
                    <a:pt x="5494" y="189"/>
                  </a:lnTo>
                  <a:lnTo>
                    <a:pt x="5334" y="201"/>
                  </a:lnTo>
                  <a:lnTo>
                    <a:pt x="5175" y="211"/>
                  </a:lnTo>
                  <a:lnTo>
                    <a:pt x="5017" y="219"/>
                  </a:lnTo>
                  <a:lnTo>
                    <a:pt x="4859" y="227"/>
                  </a:lnTo>
                  <a:lnTo>
                    <a:pt x="4703" y="234"/>
                  </a:lnTo>
                  <a:lnTo>
                    <a:pt x="4548" y="239"/>
                  </a:lnTo>
                  <a:lnTo>
                    <a:pt x="4393" y="243"/>
                  </a:lnTo>
                  <a:lnTo>
                    <a:pt x="4240" y="247"/>
                  </a:lnTo>
                  <a:lnTo>
                    <a:pt x="4088" y="249"/>
                  </a:lnTo>
                  <a:lnTo>
                    <a:pt x="3937" y="251"/>
                  </a:lnTo>
                  <a:lnTo>
                    <a:pt x="3788" y="252"/>
                  </a:lnTo>
                  <a:lnTo>
                    <a:pt x="3640" y="251"/>
                  </a:lnTo>
                  <a:lnTo>
                    <a:pt x="3494" y="251"/>
                  </a:lnTo>
                  <a:lnTo>
                    <a:pt x="3349" y="249"/>
                  </a:lnTo>
                  <a:lnTo>
                    <a:pt x="3207" y="246"/>
                  </a:lnTo>
                  <a:lnTo>
                    <a:pt x="3066" y="243"/>
                  </a:lnTo>
                  <a:lnTo>
                    <a:pt x="2928" y="240"/>
                  </a:lnTo>
                  <a:lnTo>
                    <a:pt x="2791" y="235"/>
                  </a:lnTo>
                  <a:lnTo>
                    <a:pt x="2656" y="230"/>
                  </a:lnTo>
                  <a:lnTo>
                    <a:pt x="2524" y="225"/>
                  </a:lnTo>
                  <a:lnTo>
                    <a:pt x="2266" y="212"/>
                  </a:lnTo>
                  <a:lnTo>
                    <a:pt x="2019" y="198"/>
                  </a:lnTo>
                  <a:lnTo>
                    <a:pt x="1782" y="183"/>
                  </a:lnTo>
                  <a:lnTo>
                    <a:pt x="1557" y="167"/>
                  </a:lnTo>
                  <a:lnTo>
                    <a:pt x="1343" y="150"/>
                  </a:lnTo>
                  <a:lnTo>
                    <a:pt x="1144" y="132"/>
                  </a:lnTo>
                  <a:lnTo>
                    <a:pt x="957" y="114"/>
                  </a:lnTo>
                  <a:lnTo>
                    <a:pt x="785" y="96"/>
                  </a:lnTo>
                  <a:lnTo>
                    <a:pt x="627" y="79"/>
                  </a:lnTo>
                  <a:lnTo>
                    <a:pt x="487" y="63"/>
                  </a:lnTo>
                  <a:lnTo>
                    <a:pt x="361" y="48"/>
                  </a:lnTo>
                  <a:lnTo>
                    <a:pt x="254" y="35"/>
                  </a:lnTo>
                  <a:lnTo>
                    <a:pt x="165" y="23"/>
                  </a:lnTo>
                  <a:lnTo>
                    <a:pt x="42" y="6"/>
                  </a:lnTo>
                  <a:lnTo>
                    <a:pt x="0" y="0"/>
                  </a:lnTo>
                  <a:lnTo>
                    <a:pt x="0" y="0"/>
                  </a:lnTo>
                  <a:close/>
                </a:path>
              </a:pathLst>
            </a:custGeom>
            <a:solidFill>
              <a:schemeClr val="bg1"/>
            </a:solidFill>
            <a:ln>
              <a:noFill/>
            </a:ln>
          </p:spPr>
        </p:sp>
        <p:sp>
          <p:nvSpPr>
            <p:cNvPr id="15"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4" y="4969927"/>
            <a:ext cx="8825659"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54954" y="685800"/>
            <a:ext cx="8825659" cy="3429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1154954" y="5536665"/>
            <a:ext cx="8825658" cy="493712"/>
          </a:xfrm>
        </p:spPr>
        <p:txBody>
          <a:bodyPr>
            <a:normAutofit/>
          </a:bodyPr>
          <a:lstStyle>
            <a:lvl1pPr marL="0" indent="0">
              <a:buNone/>
              <a:defRPr sz="1200">
                <a:solidFill>
                  <a:schemeClr val="accent1">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01394FE8-C606-4CBA-9305-967D4B2DCB84}" type="datetimeFigureOut">
              <a:rPr lang="en-GB" smtClean="0"/>
              <a:t>30/04/2021</a:t>
            </a:fld>
            <a:endParaRPr lang="en-GB"/>
          </a:p>
        </p:txBody>
      </p:sp>
      <p:sp>
        <p:nvSpPr>
          <p:cNvPr id="6" name="Footer Placeholder 5"/>
          <p:cNvSpPr>
            <a:spLocks noGrp="1"/>
          </p:cNvSpPr>
          <p:nvPr>
            <p:ph type="ftr" sz="quarter" idx="11"/>
          </p:nvPr>
        </p:nvSpPr>
        <p:spPr/>
        <p:txBody>
          <a:bodyPr/>
          <a:lstStyle/>
          <a:p>
            <a:endParaRPr lang="en-GB"/>
          </a:p>
        </p:txBody>
      </p:sp>
      <p:sp>
        <p:nvSpPr>
          <p:cNvPr id="16" name="Rectangle 15"/>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7" name="Slide Number Placeholder 6"/>
          <p:cNvSpPr>
            <a:spLocks noGrp="1"/>
          </p:cNvSpPr>
          <p:nvPr>
            <p:ph type="sldNum" sz="quarter" idx="12"/>
          </p:nvPr>
        </p:nvSpPr>
        <p:spPr/>
        <p:txBody>
          <a:bodyPr/>
          <a:lstStyle/>
          <a:p>
            <a:fld id="{6116B4E6-A90E-4A9C-A80E-032C75B95B5F}" type="slidenum">
              <a:rPr lang="en-GB" smtClean="0"/>
              <a:t>‹#›</a:t>
            </a:fld>
            <a:endParaRPr lang="en-GB"/>
          </a:p>
        </p:txBody>
      </p:sp>
    </p:spTree>
    <p:extLst>
      <p:ext uri="{BB962C8B-B14F-4D97-AF65-F5344CB8AC3E}">
        <p14:creationId xmlns:p14="http://schemas.microsoft.com/office/powerpoint/2010/main" val="36541435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Title and Caption">
    <p:spTree>
      <p:nvGrpSpPr>
        <p:cNvPr id="1" name=""/>
        <p:cNvGrpSpPr/>
        <p:nvPr/>
      </p:nvGrpSpPr>
      <p:grpSpPr>
        <a:xfrm>
          <a:off x="0" y="0"/>
          <a:ext cx="0" cy="0"/>
          <a:chOff x="0" y="0"/>
          <a:chExt cx="0" cy="0"/>
        </a:xfrm>
      </p:grpSpPr>
      <p:grpSp>
        <p:nvGrpSpPr>
          <p:cNvPr id="7" name="Group 6"/>
          <p:cNvGrpSpPr/>
          <p:nvPr/>
        </p:nvGrpSpPr>
        <p:grpSpPr>
          <a:xfrm>
            <a:off x="0" y="0"/>
            <a:ext cx="12192000" cy="6858000"/>
            <a:chOff x="0" y="0"/>
            <a:chExt cx="12192000" cy="6858000"/>
          </a:xfrm>
        </p:grpSpPr>
        <p:sp>
          <p:nvSpPr>
            <p:cNvPr id="11" name="Rectangle 10"/>
            <p:cNvSpPr/>
            <p:nvPr/>
          </p:nvSpPr>
          <p:spPr>
            <a:xfrm>
              <a:off x="0" y="0"/>
              <a:ext cx="12192000" cy="6858000"/>
            </a:xfrm>
            <a:prstGeom prst="rect">
              <a:avLst/>
            </a:prstGeom>
            <a:blipFill>
              <a:blip r:embed="rId2">
                <a:duotone>
                  <a:schemeClr val="dk2">
                    <a:shade val="69000"/>
                    <a:hueMod val="91000"/>
                    <a:satMod val="164000"/>
                    <a:lumMod val="74000"/>
                  </a:schemeClr>
                  <a:schemeClr val="dk2">
                    <a:hueMod val="124000"/>
                    <a:satMod val="140000"/>
                    <a:lumMod val="14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4" name="Oval 13"/>
            <p:cNvSpPr/>
            <p:nvPr/>
          </p:nvSpPr>
          <p:spPr>
            <a:xfrm>
              <a:off x="0"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5" name="Oval 14"/>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7999412" y="8464"/>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5" name="Freeform 5"/>
            <p:cNvSpPr/>
            <p:nvPr/>
          </p:nvSpPr>
          <p:spPr bwMode="gray">
            <a:xfrm rot="21010068">
              <a:off x="8490951" y="2714874"/>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7" name="Freeform 5"/>
            <p:cNvSpPr/>
            <p:nvPr/>
          </p:nvSpPr>
          <p:spPr bwMode="gray">
            <a:xfrm>
              <a:off x="455612" y="2801319"/>
              <a:ext cx="11277600" cy="3602637"/>
            </a:xfrm>
            <a:custGeom>
              <a:avLst/>
              <a:gdLst/>
              <a:ahLst/>
              <a:cxnLst/>
              <a:rect l="l" t="t" r="r" b="b"/>
              <a:pathLst>
                <a:path w="10000" h="7946">
                  <a:moveTo>
                    <a:pt x="0" y="0"/>
                  </a:moveTo>
                  <a:lnTo>
                    <a:pt x="0" y="7945"/>
                  </a:lnTo>
                  <a:lnTo>
                    <a:pt x="10000" y="7946"/>
                  </a:lnTo>
                  <a:lnTo>
                    <a:pt x="10000" y="4"/>
                  </a:lnTo>
                  <a:lnTo>
                    <a:pt x="10000" y="4"/>
                  </a:lnTo>
                  <a:lnTo>
                    <a:pt x="9773" y="91"/>
                  </a:lnTo>
                  <a:lnTo>
                    <a:pt x="9547" y="175"/>
                  </a:lnTo>
                  <a:lnTo>
                    <a:pt x="9320" y="256"/>
                  </a:lnTo>
                  <a:lnTo>
                    <a:pt x="9092" y="326"/>
                  </a:lnTo>
                  <a:lnTo>
                    <a:pt x="8865" y="396"/>
                  </a:lnTo>
                  <a:lnTo>
                    <a:pt x="8637" y="462"/>
                  </a:lnTo>
                  <a:lnTo>
                    <a:pt x="8412" y="518"/>
                  </a:lnTo>
                  <a:lnTo>
                    <a:pt x="8184" y="571"/>
                  </a:lnTo>
                  <a:lnTo>
                    <a:pt x="7957" y="620"/>
                  </a:lnTo>
                  <a:lnTo>
                    <a:pt x="7734" y="662"/>
                  </a:lnTo>
                  <a:lnTo>
                    <a:pt x="7508" y="704"/>
                  </a:lnTo>
                  <a:lnTo>
                    <a:pt x="7285" y="739"/>
                  </a:lnTo>
                  <a:lnTo>
                    <a:pt x="7062" y="767"/>
                  </a:lnTo>
                  <a:lnTo>
                    <a:pt x="6840" y="795"/>
                  </a:lnTo>
                  <a:lnTo>
                    <a:pt x="6620" y="819"/>
                  </a:lnTo>
                  <a:lnTo>
                    <a:pt x="6402" y="837"/>
                  </a:lnTo>
                  <a:lnTo>
                    <a:pt x="6184" y="851"/>
                  </a:lnTo>
                  <a:lnTo>
                    <a:pt x="5968" y="865"/>
                  </a:lnTo>
                  <a:lnTo>
                    <a:pt x="5755" y="872"/>
                  </a:lnTo>
                  <a:lnTo>
                    <a:pt x="5542" y="879"/>
                  </a:lnTo>
                  <a:lnTo>
                    <a:pt x="5332" y="882"/>
                  </a:lnTo>
                  <a:lnTo>
                    <a:pt x="5124" y="879"/>
                  </a:lnTo>
                  <a:lnTo>
                    <a:pt x="4918" y="879"/>
                  </a:lnTo>
                  <a:lnTo>
                    <a:pt x="4714" y="872"/>
                  </a:lnTo>
                  <a:lnTo>
                    <a:pt x="4514" y="861"/>
                  </a:lnTo>
                  <a:lnTo>
                    <a:pt x="4316" y="851"/>
                  </a:lnTo>
                  <a:lnTo>
                    <a:pt x="4122" y="840"/>
                  </a:lnTo>
                  <a:lnTo>
                    <a:pt x="3929" y="823"/>
                  </a:lnTo>
                  <a:lnTo>
                    <a:pt x="3739" y="805"/>
                  </a:lnTo>
                  <a:lnTo>
                    <a:pt x="3553" y="788"/>
                  </a:lnTo>
                  <a:lnTo>
                    <a:pt x="3190" y="742"/>
                  </a:lnTo>
                  <a:lnTo>
                    <a:pt x="2842" y="693"/>
                  </a:lnTo>
                  <a:lnTo>
                    <a:pt x="2508" y="641"/>
                  </a:lnTo>
                  <a:lnTo>
                    <a:pt x="2192" y="585"/>
                  </a:lnTo>
                  <a:lnTo>
                    <a:pt x="1890" y="525"/>
                  </a:lnTo>
                  <a:lnTo>
                    <a:pt x="1610" y="462"/>
                  </a:lnTo>
                  <a:lnTo>
                    <a:pt x="1347" y="399"/>
                  </a:lnTo>
                  <a:lnTo>
                    <a:pt x="1105" y="336"/>
                  </a:lnTo>
                  <a:lnTo>
                    <a:pt x="883" y="277"/>
                  </a:lnTo>
                  <a:lnTo>
                    <a:pt x="686" y="221"/>
                  </a:lnTo>
                  <a:lnTo>
                    <a:pt x="508" y="168"/>
                  </a:lnTo>
                  <a:lnTo>
                    <a:pt x="358" y="123"/>
                  </a:lnTo>
                  <a:lnTo>
                    <a:pt x="232" y="81"/>
                  </a:lnTo>
                  <a:lnTo>
                    <a:pt x="59" y="21"/>
                  </a:lnTo>
                  <a:lnTo>
                    <a:pt x="0" y="0"/>
                  </a:lnTo>
                  <a:lnTo>
                    <a:pt x="0" y="0"/>
                  </a:lnTo>
                  <a:close/>
                </a:path>
              </a:pathLst>
            </a:custGeom>
            <a:solidFill>
              <a:schemeClr val="bg1"/>
            </a:solidFill>
            <a:ln>
              <a:noFill/>
            </a:ln>
          </p:spPr>
        </p:sp>
        <p:sp>
          <p:nvSpPr>
            <p:cNvPr id="12"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48798" y="1063417"/>
            <a:ext cx="8831816" cy="1372986"/>
          </a:xfrm>
        </p:spPr>
        <p:txBody>
          <a:bodyPr/>
          <a:lstStyle>
            <a:lvl1pPr>
              <a:defRPr sz="4000"/>
            </a:lvl1pPr>
          </a:lstStyle>
          <a:p>
            <a:r>
              <a:rPr lang="en-US"/>
              <a:t>Click to edit Master title style</a:t>
            </a:r>
            <a:endParaRPr lang="en-US" dirty="0"/>
          </a:p>
        </p:txBody>
      </p:sp>
      <p:sp>
        <p:nvSpPr>
          <p:cNvPr id="8" name="Text Placeholder 3"/>
          <p:cNvSpPr>
            <a:spLocks noGrp="1"/>
          </p:cNvSpPr>
          <p:nvPr>
            <p:ph type="body" sz="half" idx="2"/>
          </p:nvPr>
        </p:nvSpPr>
        <p:spPr>
          <a:xfrm>
            <a:off x="1154954" y="3543300"/>
            <a:ext cx="8825659" cy="2476500"/>
          </a:xfrm>
        </p:spPr>
        <p:txBody>
          <a:bodyPr anchor="ct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4" name="Date Placeholder 3"/>
          <p:cNvSpPr>
            <a:spLocks noGrp="1"/>
          </p:cNvSpPr>
          <p:nvPr>
            <p:ph type="dt" sz="half" idx="10"/>
          </p:nvPr>
        </p:nvSpPr>
        <p:spPr/>
        <p:txBody>
          <a:bodyPr/>
          <a:lstStyle/>
          <a:p>
            <a:fld id="{01394FE8-C606-4CBA-9305-967D4B2DCB84}" type="datetimeFigureOut">
              <a:rPr lang="en-GB" smtClean="0"/>
              <a:t>30/04/2021</a:t>
            </a:fld>
            <a:endParaRPr lang="en-GB"/>
          </a:p>
        </p:txBody>
      </p:sp>
      <p:sp>
        <p:nvSpPr>
          <p:cNvPr id="5" name="Footer Placeholder 4"/>
          <p:cNvSpPr>
            <a:spLocks noGrp="1"/>
          </p:cNvSpPr>
          <p:nvPr>
            <p:ph type="ftr" sz="quarter" idx="11"/>
          </p:nvPr>
        </p:nvSpPr>
        <p:spPr/>
        <p:txBody>
          <a:bodyPr/>
          <a:lstStyle/>
          <a:p>
            <a:endParaRPr lang="en-GB"/>
          </a:p>
        </p:txBody>
      </p:sp>
      <p:sp>
        <p:nvSpPr>
          <p:cNvPr id="13" name="Rectangle 12"/>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6116B4E6-A90E-4A9C-A80E-032C75B95B5F}" type="slidenum">
              <a:rPr lang="en-GB" smtClean="0"/>
              <a:t>‹#›</a:t>
            </a:fld>
            <a:endParaRPr lang="en-GB"/>
          </a:p>
        </p:txBody>
      </p:sp>
    </p:spTree>
    <p:extLst>
      <p:ext uri="{BB962C8B-B14F-4D97-AF65-F5344CB8AC3E}">
        <p14:creationId xmlns:p14="http://schemas.microsoft.com/office/powerpoint/2010/main" val="428305565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Quote with Caption">
    <p:spTree>
      <p:nvGrpSpPr>
        <p:cNvPr id="1" name=""/>
        <p:cNvGrpSpPr/>
        <p:nvPr/>
      </p:nvGrpSpPr>
      <p:grpSpPr>
        <a:xfrm>
          <a:off x="0" y="0"/>
          <a:ext cx="0" cy="0"/>
          <a:chOff x="0" y="0"/>
          <a:chExt cx="0" cy="0"/>
        </a:xfrm>
      </p:grpSpPr>
      <p:grpSp>
        <p:nvGrpSpPr>
          <p:cNvPr id="3" name="Group 2"/>
          <p:cNvGrpSpPr/>
          <p:nvPr/>
        </p:nvGrpSpPr>
        <p:grpSpPr>
          <a:xfrm>
            <a:off x="0" y="0"/>
            <a:ext cx="12192000" cy="6858000"/>
            <a:chOff x="0" y="0"/>
            <a:chExt cx="12192000" cy="6858000"/>
          </a:xfrm>
        </p:grpSpPr>
        <p:sp>
          <p:nvSpPr>
            <p:cNvPr id="17" name="Rectangle 16"/>
            <p:cNvSpPr/>
            <p:nvPr/>
          </p:nvSpPr>
          <p:spPr>
            <a:xfrm>
              <a:off x="0" y="0"/>
              <a:ext cx="12192000" cy="6858000"/>
            </a:xfrm>
            <a:prstGeom prst="rect">
              <a:avLst/>
            </a:prstGeom>
            <a:blipFill>
              <a:blip r:embed="rId2">
                <a:duotone>
                  <a:schemeClr val="dk2">
                    <a:shade val="69000"/>
                    <a:hueMod val="91000"/>
                    <a:satMod val="164000"/>
                    <a:lumMod val="74000"/>
                  </a:schemeClr>
                  <a:schemeClr val="dk2">
                    <a:hueMod val="124000"/>
                    <a:satMod val="140000"/>
                    <a:lumMod val="14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20" name="Oval 19"/>
            <p:cNvSpPr/>
            <p:nvPr/>
          </p:nvSpPr>
          <p:spPr>
            <a:xfrm>
              <a:off x="0"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2" name="Oval 21"/>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3" name="Oval 22"/>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4" name="Oval 23"/>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5" name="Oval 24"/>
            <p:cNvSpPr/>
            <p:nvPr/>
          </p:nvSpPr>
          <p:spPr>
            <a:xfrm>
              <a:off x="7999412" y="8464"/>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1" name="Freeform 5"/>
            <p:cNvSpPr/>
            <p:nvPr/>
          </p:nvSpPr>
          <p:spPr bwMode="gray">
            <a:xfrm rot="21010068">
              <a:off x="8490951" y="4185117"/>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2" name="Freeform 5"/>
            <p:cNvSpPr/>
            <p:nvPr/>
          </p:nvSpPr>
          <p:spPr bwMode="gray">
            <a:xfrm>
              <a:off x="455612" y="4241801"/>
              <a:ext cx="11277600" cy="2337161"/>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8"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16" name="TextBox 15"/>
          <p:cNvSpPr txBox="1"/>
          <p:nvPr/>
        </p:nvSpPr>
        <p:spPr bwMode="gray">
          <a:xfrm>
            <a:off x="881566" y="607336"/>
            <a:ext cx="801912" cy="1569660"/>
          </a:xfrm>
          <a:prstGeom prst="rect">
            <a:avLst/>
          </a:prstGeom>
          <a:noFill/>
        </p:spPr>
        <p:txBody>
          <a:bodyPr wrap="square" rtlCol="0">
            <a:spAutoFit/>
          </a:bodyPr>
          <a:lstStyle/>
          <a:p>
            <a:pPr algn="r"/>
            <a:r>
              <a:rPr lang="en-US" sz="9600" b="0" i="0" dirty="0">
                <a:solidFill>
                  <a:schemeClr val="accent1">
                    <a:lumMod val="60000"/>
                    <a:lumOff val="40000"/>
                  </a:schemeClr>
                </a:solidFill>
                <a:latin typeface="Arial"/>
                <a:cs typeface="Arial"/>
              </a:rPr>
              <a:t>“</a:t>
            </a:r>
          </a:p>
        </p:txBody>
      </p:sp>
      <p:sp>
        <p:nvSpPr>
          <p:cNvPr id="13" name="TextBox 12"/>
          <p:cNvSpPr txBox="1"/>
          <p:nvPr/>
        </p:nvSpPr>
        <p:spPr bwMode="gray">
          <a:xfrm>
            <a:off x="9884458" y="2613787"/>
            <a:ext cx="652763" cy="1569660"/>
          </a:xfrm>
          <a:prstGeom prst="rect">
            <a:avLst/>
          </a:prstGeom>
          <a:noFill/>
        </p:spPr>
        <p:txBody>
          <a:bodyPr wrap="square" rtlCol="0">
            <a:spAutoFit/>
          </a:bodyPr>
          <a:lstStyle/>
          <a:p>
            <a:pPr algn="r"/>
            <a:r>
              <a:rPr lang="en-US" sz="9600" b="0" i="0" dirty="0">
                <a:solidFill>
                  <a:schemeClr val="accent1">
                    <a:lumMod val="60000"/>
                    <a:lumOff val="40000"/>
                  </a:schemeClr>
                </a:solidFill>
                <a:latin typeface="Arial"/>
                <a:cs typeface="Arial"/>
              </a:rPr>
              <a:t>”</a:t>
            </a:r>
          </a:p>
        </p:txBody>
      </p:sp>
      <p:sp>
        <p:nvSpPr>
          <p:cNvPr id="2" name="Title 1"/>
          <p:cNvSpPr>
            <a:spLocks noGrp="1"/>
          </p:cNvSpPr>
          <p:nvPr>
            <p:ph type="title"/>
          </p:nvPr>
        </p:nvSpPr>
        <p:spPr>
          <a:xfrm>
            <a:off x="1581878" y="982134"/>
            <a:ext cx="8453906" cy="2696632"/>
          </a:xfrm>
        </p:spPr>
        <p:txBody>
          <a:bodyPr/>
          <a:lstStyle>
            <a:lvl1pPr>
              <a:defRPr sz="4000"/>
            </a:lvl1pPr>
          </a:lstStyle>
          <a:p>
            <a:r>
              <a:rPr lang="en-US"/>
              <a:t>Click to edit Master title style</a:t>
            </a:r>
            <a:endParaRPr lang="en-US" dirty="0"/>
          </a:p>
        </p:txBody>
      </p:sp>
      <p:sp>
        <p:nvSpPr>
          <p:cNvPr id="14" name="Text Placeholder 3"/>
          <p:cNvSpPr>
            <a:spLocks noGrp="1"/>
          </p:cNvSpPr>
          <p:nvPr>
            <p:ph type="body" sz="half" idx="13"/>
          </p:nvPr>
        </p:nvSpPr>
        <p:spPr bwMode="gray">
          <a:xfrm>
            <a:off x="1945945" y="3678766"/>
            <a:ext cx="7731219" cy="342174"/>
          </a:xfrm>
        </p:spPr>
        <p:txBody>
          <a:bodyPr anchor="t">
            <a:normAutofit/>
          </a:bodyPr>
          <a:lstStyle>
            <a:lvl1pPr marL="0" indent="0">
              <a:buNone/>
              <a:defRPr lang="en-US" sz="1400" b="0" i="0" kern="1200" cap="small" dirty="0">
                <a:solidFill>
                  <a:schemeClr val="accent1">
                    <a:lumMod val="60000"/>
                    <a:lumOff val="40000"/>
                  </a:schemeClr>
                </a:solidFill>
                <a:latin typeface="+mn-lt"/>
                <a:ea typeface="+mn-ea"/>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0" name="Text Placeholder 3"/>
          <p:cNvSpPr>
            <a:spLocks noGrp="1"/>
          </p:cNvSpPr>
          <p:nvPr>
            <p:ph type="body" sz="half" idx="2"/>
          </p:nvPr>
        </p:nvSpPr>
        <p:spPr>
          <a:xfrm>
            <a:off x="1154954" y="5029199"/>
            <a:ext cx="9244897" cy="997857"/>
          </a:xfrm>
        </p:spPr>
        <p:txBody>
          <a:bodyPr anchor="ctr">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4" name="Date Placeholder 3"/>
          <p:cNvSpPr>
            <a:spLocks noGrp="1"/>
          </p:cNvSpPr>
          <p:nvPr>
            <p:ph type="dt" sz="half" idx="10"/>
          </p:nvPr>
        </p:nvSpPr>
        <p:spPr/>
        <p:txBody>
          <a:bodyPr/>
          <a:lstStyle/>
          <a:p>
            <a:fld id="{01394FE8-C606-4CBA-9305-967D4B2DCB84}" type="datetimeFigureOut">
              <a:rPr lang="en-GB" smtClean="0"/>
              <a:t>30/04/2021</a:t>
            </a:fld>
            <a:endParaRPr lang="en-GB"/>
          </a:p>
        </p:txBody>
      </p:sp>
      <p:sp>
        <p:nvSpPr>
          <p:cNvPr id="5" name="Footer Placeholder 4"/>
          <p:cNvSpPr>
            <a:spLocks noGrp="1"/>
          </p:cNvSpPr>
          <p:nvPr>
            <p:ph type="ftr" sz="quarter" idx="11"/>
          </p:nvPr>
        </p:nvSpPr>
        <p:spPr/>
        <p:txBody>
          <a:bodyPr/>
          <a:lstStyle/>
          <a:p>
            <a:endParaRPr lang="en-GB"/>
          </a:p>
        </p:txBody>
      </p:sp>
      <p:sp>
        <p:nvSpPr>
          <p:cNvPr id="19" name="Rectangle 18"/>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6116B4E6-A90E-4A9C-A80E-032C75B95B5F}" type="slidenum">
              <a:rPr lang="en-GB" smtClean="0"/>
              <a:t>‹#›</a:t>
            </a:fld>
            <a:endParaRPr lang="en-GB"/>
          </a:p>
        </p:txBody>
      </p:sp>
    </p:spTree>
    <p:extLst>
      <p:ext uri="{BB962C8B-B14F-4D97-AF65-F5344CB8AC3E}">
        <p14:creationId xmlns:p14="http://schemas.microsoft.com/office/powerpoint/2010/main" val="4736071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Name Card">
    <p:spTree>
      <p:nvGrpSpPr>
        <p:cNvPr id="1" name=""/>
        <p:cNvGrpSpPr/>
        <p:nvPr/>
      </p:nvGrpSpPr>
      <p:grpSpPr>
        <a:xfrm>
          <a:off x="0" y="0"/>
          <a:ext cx="0" cy="0"/>
          <a:chOff x="0" y="0"/>
          <a:chExt cx="0" cy="0"/>
        </a:xfrm>
      </p:grpSpPr>
      <p:grpSp>
        <p:nvGrpSpPr>
          <p:cNvPr id="9" name="Group 8"/>
          <p:cNvGrpSpPr/>
          <p:nvPr/>
        </p:nvGrpSpPr>
        <p:grpSpPr>
          <a:xfrm>
            <a:off x="0" y="0"/>
            <a:ext cx="12192000" cy="6858000"/>
            <a:chOff x="0" y="0"/>
            <a:chExt cx="12192000" cy="6858000"/>
          </a:xfrm>
        </p:grpSpPr>
        <p:sp>
          <p:nvSpPr>
            <p:cNvPr id="11" name="Rectangle 10"/>
            <p:cNvSpPr/>
            <p:nvPr/>
          </p:nvSpPr>
          <p:spPr>
            <a:xfrm>
              <a:off x="0" y="0"/>
              <a:ext cx="12192000" cy="6858000"/>
            </a:xfrm>
            <a:prstGeom prst="rect">
              <a:avLst/>
            </a:prstGeom>
            <a:blipFill>
              <a:blip r:embed="rId2">
                <a:duotone>
                  <a:schemeClr val="dk2">
                    <a:shade val="69000"/>
                    <a:hueMod val="91000"/>
                    <a:satMod val="164000"/>
                    <a:lumMod val="74000"/>
                  </a:schemeClr>
                  <a:schemeClr val="dk2">
                    <a:hueMod val="124000"/>
                    <a:satMod val="140000"/>
                    <a:lumMod val="14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Oval 14"/>
            <p:cNvSpPr/>
            <p:nvPr/>
          </p:nvSpPr>
          <p:spPr>
            <a:xfrm>
              <a:off x="0"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7999412" y="8464"/>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3" name="Freeform 5"/>
            <p:cNvSpPr/>
            <p:nvPr/>
          </p:nvSpPr>
          <p:spPr bwMode="gray">
            <a:xfrm rot="21010068">
              <a:off x="8490951" y="4193583"/>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8" name="Freeform 5"/>
            <p:cNvSpPr/>
            <p:nvPr/>
          </p:nvSpPr>
          <p:spPr bwMode="gray">
            <a:xfrm>
              <a:off x="455612" y="4241801"/>
              <a:ext cx="11277600" cy="2337161"/>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2"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4" y="2370667"/>
            <a:ext cx="8825660" cy="1822514"/>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1154954" y="5024967"/>
            <a:ext cx="8825659" cy="860400"/>
          </a:xfrm>
        </p:spPr>
        <p:txBody>
          <a:bodyPr anchor="t"/>
          <a:lstStyle>
            <a:lvl1pPr marL="0" indent="0" algn="l">
              <a:buNone/>
              <a:defRPr sz="2000" cap="none">
                <a:solidFill>
                  <a:schemeClr val="accent1">
                    <a:lumMod val="60000"/>
                    <a:lumOff val="4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1394FE8-C606-4CBA-9305-967D4B2DCB84}" type="datetimeFigureOut">
              <a:rPr lang="en-GB" smtClean="0"/>
              <a:t>30/04/2021</a:t>
            </a:fld>
            <a:endParaRPr lang="en-GB"/>
          </a:p>
        </p:txBody>
      </p:sp>
      <p:sp>
        <p:nvSpPr>
          <p:cNvPr id="5" name="Footer Placeholder 4"/>
          <p:cNvSpPr>
            <a:spLocks noGrp="1"/>
          </p:cNvSpPr>
          <p:nvPr>
            <p:ph type="ftr" sz="quarter" idx="11"/>
          </p:nvPr>
        </p:nvSpPr>
        <p:spPr/>
        <p:txBody>
          <a:bodyPr/>
          <a:lstStyle/>
          <a:p>
            <a:endParaRPr lang="en-GB"/>
          </a:p>
        </p:txBody>
      </p:sp>
      <p:sp>
        <p:nvSpPr>
          <p:cNvPr id="14" name="Rectangle 13"/>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6116B4E6-A90E-4A9C-A80E-032C75B95B5F}" type="slidenum">
              <a:rPr lang="en-GB" smtClean="0"/>
              <a:t>‹#›</a:t>
            </a:fld>
            <a:endParaRPr lang="en-GB"/>
          </a:p>
        </p:txBody>
      </p:sp>
    </p:spTree>
    <p:extLst>
      <p:ext uri="{BB962C8B-B14F-4D97-AF65-F5344CB8AC3E}">
        <p14:creationId xmlns:p14="http://schemas.microsoft.com/office/powerpoint/2010/main" val="2490413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2" name="Title 1"/>
          <p:cNvSpPr>
            <a:spLocks noGrp="1"/>
          </p:cNvSpPr>
          <p:nvPr>
            <p:ph type="title"/>
          </p:nvPr>
        </p:nvSpPr>
        <p:spPr>
          <a:xfrm>
            <a:off x="1154954" y="973668"/>
            <a:ext cx="8825659" cy="706964"/>
          </a:xfrm>
        </p:spPr>
        <p:txBody>
          <a:bodyPr/>
          <a:lstStyle>
            <a:lvl1pPr>
              <a:defRPr sz="3600"/>
            </a:lvl1pPr>
          </a:lstStyle>
          <a:p>
            <a:r>
              <a:rPr lang="en-US"/>
              <a:t>Click to edit Master title style</a:t>
            </a:r>
            <a:endParaRPr lang="en-US" dirty="0"/>
          </a:p>
        </p:txBody>
      </p:sp>
      <p:sp>
        <p:nvSpPr>
          <p:cNvPr id="3" name="Text Placeholder 2"/>
          <p:cNvSpPr>
            <a:spLocks noGrp="1"/>
          </p:cNvSpPr>
          <p:nvPr>
            <p:ph type="body" idx="1"/>
          </p:nvPr>
        </p:nvSpPr>
        <p:spPr>
          <a:xfrm>
            <a:off x="1154954" y="2603502"/>
            <a:ext cx="3141878" cy="576262"/>
          </a:xfrm>
        </p:spPr>
        <p:txBody>
          <a:bodyPr anchor="b">
            <a:noAutofit/>
          </a:bodyPr>
          <a:lstStyle>
            <a:lvl1pPr marL="0" indent="0">
              <a:buNone/>
              <a:defRPr sz="2400" b="0">
                <a:solidFill>
                  <a:schemeClr val="accent1">
                    <a:lumMod val="60000"/>
                    <a:lumOff val="4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Text Placeholder 3"/>
          <p:cNvSpPr>
            <a:spLocks noGrp="1"/>
          </p:cNvSpPr>
          <p:nvPr>
            <p:ph type="body" sz="half" idx="15"/>
          </p:nvPr>
        </p:nvSpPr>
        <p:spPr>
          <a:xfrm>
            <a:off x="1154953" y="3179764"/>
            <a:ext cx="3141879" cy="284729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p:cNvSpPr>
            <a:spLocks noGrp="1"/>
          </p:cNvSpPr>
          <p:nvPr>
            <p:ph type="body" sz="quarter" idx="3"/>
          </p:nvPr>
        </p:nvSpPr>
        <p:spPr>
          <a:xfrm>
            <a:off x="4512721" y="2603500"/>
            <a:ext cx="3147009" cy="576262"/>
          </a:xfrm>
        </p:spPr>
        <p:txBody>
          <a:bodyPr anchor="b">
            <a:noAutofit/>
          </a:bodyPr>
          <a:lstStyle>
            <a:lvl1pPr marL="0" indent="0">
              <a:buNone/>
              <a:defRPr sz="2400" b="0">
                <a:solidFill>
                  <a:schemeClr val="accent1">
                    <a:lumMod val="60000"/>
                    <a:lumOff val="4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Text Placeholder 3"/>
          <p:cNvSpPr>
            <a:spLocks noGrp="1"/>
          </p:cNvSpPr>
          <p:nvPr>
            <p:ph type="body" sz="half" idx="16"/>
          </p:nvPr>
        </p:nvSpPr>
        <p:spPr>
          <a:xfrm>
            <a:off x="4512721" y="3179763"/>
            <a:ext cx="3147009" cy="284729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4" name="Text Placeholder 4"/>
          <p:cNvSpPr>
            <a:spLocks noGrp="1"/>
          </p:cNvSpPr>
          <p:nvPr>
            <p:ph type="body" sz="quarter" idx="13"/>
          </p:nvPr>
        </p:nvSpPr>
        <p:spPr>
          <a:xfrm>
            <a:off x="7888135" y="2603501"/>
            <a:ext cx="3145730" cy="576262"/>
          </a:xfrm>
        </p:spPr>
        <p:txBody>
          <a:bodyPr anchor="b">
            <a:noAutofit/>
          </a:bodyPr>
          <a:lstStyle>
            <a:lvl1pPr marL="0" indent="0">
              <a:buNone/>
              <a:defRPr sz="2400" b="0">
                <a:solidFill>
                  <a:schemeClr val="accent1">
                    <a:lumMod val="60000"/>
                    <a:lumOff val="4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0" name="Text Placeholder 3"/>
          <p:cNvSpPr>
            <a:spLocks noGrp="1"/>
          </p:cNvSpPr>
          <p:nvPr>
            <p:ph type="body" sz="half" idx="17"/>
          </p:nvPr>
        </p:nvSpPr>
        <p:spPr>
          <a:xfrm>
            <a:off x="7888329" y="3179762"/>
            <a:ext cx="3145536" cy="284729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cxnSp>
        <p:nvCxnSpPr>
          <p:cNvPr id="17" name="Straight Connector 16"/>
          <p:cNvCxnSpPr/>
          <p:nvPr/>
        </p:nvCxnSpPr>
        <p:spPr>
          <a:xfrm>
            <a:off x="4403971" y="2569633"/>
            <a:ext cx="0" cy="3492499"/>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7772401" y="2569633"/>
            <a:ext cx="0" cy="3492499"/>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6"/>
          <p:cNvSpPr>
            <a:spLocks noGrp="1"/>
          </p:cNvSpPr>
          <p:nvPr>
            <p:ph type="dt" sz="half" idx="10"/>
          </p:nvPr>
        </p:nvSpPr>
        <p:spPr/>
        <p:txBody>
          <a:bodyPr/>
          <a:lstStyle/>
          <a:p>
            <a:fld id="{01394FE8-C606-4CBA-9305-967D4B2DCB84}" type="datetimeFigureOut">
              <a:rPr lang="en-GB" smtClean="0"/>
              <a:t>30/04/2021</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6116B4E6-A90E-4A9C-A80E-032C75B95B5F}" type="slidenum">
              <a:rPr lang="en-GB" smtClean="0"/>
              <a:t>‹#›</a:t>
            </a:fld>
            <a:endParaRPr lang="en-GB"/>
          </a:p>
        </p:txBody>
      </p:sp>
    </p:spTree>
    <p:extLst>
      <p:ext uri="{BB962C8B-B14F-4D97-AF65-F5344CB8AC3E}">
        <p14:creationId xmlns:p14="http://schemas.microsoft.com/office/powerpoint/2010/main" val="319996652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2" name="Title 1"/>
          <p:cNvSpPr>
            <a:spLocks noGrp="1"/>
          </p:cNvSpPr>
          <p:nvPr>
            <p:ph type="title"/>
          </p:nvPr>
        </p:nvSpPr>
        <p:spPr>
          <a:xfrm>
            <a:off x="1154954" y="973668"/>
            <a:ext cx="8825659" cy="706964"/>
          </a:xfrm>
        </p:spPr>
        <p:txBody>
          <a:bodyPr/>
          <a:lstStyle>
            <a:lvl1pPr>
              <a:defRPr sz="3600"/>
            </a:lvl1pPr>
          </a:lstStyle>
          <a:p>
            <a:r>
              <a:rPr lang="en-US"/>
              <a:t>Click to edit Master title style</a:t>
            </a:r>
            <a:endParaRPr lang="en-US" dirty="0"/>
          </a:p>
        </p:txBody>
      </p:sp>
      <p:sp>
        <p:nvSpPr>
          <p:cNvPr id="3" name="Text Placeholder 2"/>
          <p:cNvSpPr>
            <a:spLocks noGrp="1"/>
          </p:cNvSpPr>
          <p:nvPr>
            <p:ph type="body" idx="1"/>
          </p:nvPr>
        </p:nvSpPr>
        <p:spPr>
          <a:xfrm>
            <a:off x="1154954" y="4532844"/>
            <a:ext cx="3050438" cy="576262"/>
          </a:xfrm>
        </p:spPr>
        <p:txBody>
          <a:bodyPr anchor="b">
            <a:noAutofit/>
          </a:bodyPr>
          <a:lstStyle>
            <a:lvl1pPr marL="0" indent="0">
              <a:buNone/>
              <a:defRPr sz="2400" b="0">
                <a:solidFill>
                  <a:schemeClr val="accent1">
                    <a:lumMod val="60000"/>
                    <a:lumOff val="4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Picture Placeholder 2"/>
          <p:cNvSpPr>
            <a:spLocks noGrp="1" noChangeAspect="1"/>
          </p:cNvSpPr>
          <p:nvPr>
            <p:ph type="pic" idx="15"/>
          </p:nvPr>
        </p:nvSpPr>
        <p:spPr>
          <a:xfrm>
            <a:off x="1334553" y="2603500"/>
            <a:ext cx="2691242" cy="159151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2" name="Text Placeholder 3"/>
          <p:cNvSpPr>
            <a:spLocks noGrp="1"/>
          </p:cNvSpPr>
          <p:nvPr>
            <p:ph type="body" sz="half" idx="18"/>
          </p:nvPr>
        </p:nvSpPr>
        <p:spPr>
          <a:xfrm>
            <a:off x="1154954" y="5109106"/>
            <a:ext cx="3050438" cy="91795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Text Placeholder 4"/>
          <p:cNvSpPr>
            <a:spLocks noGrp="1"/>
          </p:cNvSpPr>
          <p:nvPr>
            <p:ph type="body" sz="quarter" idx="3"/>
          </p:nvPr>
        </p:nvSpPr>
        <p:spPr>
          <a:xfrm>
            <a:off x="4568865" y="4532844"/>
            <a:ext cx="3050438" cy="576263"/>
          </a:xfrm>
        </p:spPr>
        <p:txBody>
          <a:bodyPr anchor="b">
            <a:noAutofit/>
          </a:bodyPr>
          <a:lstStyle>
            <a:lvl1pPr marL="0" indent="0">
              <a:buNone/>
              <a:defRPr sz="2400" b="0">
                <a:solidFill>
                  <a:schemeClr val="accent1">
                    <a:lumMod val="60000"/>
                    <a:lumOff val="4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1" name="Picture Placeholder 2"/>
          <p:cNvSpPr>
            <a:spLocks noGrp="1" noChangeAspect="1"/>
          </p:cNvSpPr>
          <p:nvPr>
            <p:ph type="pic" idx="21"/>
          </p:nvPr>
        </p:nvSpPr>
        <p:spPr>
          <a:xfrm>
            <a:off x="4748462" y="2603500"/>
            <a:ext cx="2691243" cy="159151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3" name="Text Placeholder 3"/>
          <p:cNvSpPr>
            <a:spLocks noGrp="1"/>
          </p:cNvSpPr>
          <p:nvPr>
            <p:ph type="body" sz="half" idx="19"/>
          </p:nvPr>
        </p:nvSpPr>
        <p:spPr>
          <a:xfrm>
            <a:off x="4570172" y="5109105"/>
            <a:ext cx="3050438" cy="91795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4" name="Text Placeholder 4"/>
          <p:cNvSpPr>
            <a:spLocks noGrp="1"/>
          </p:cNvSpPr>
          <p:nvPr>
            <p:ph type="body" sz="quarter" idx="13"/>
          </p:nvPr>
        </p:nvSpPr>
        <p:spPr>
          <a:xfrm>
            <a:off x="7982775" y="4532845"/>
            <a:ext cx="3051095" cy="576262"/>
          </a:xfrm>
        </p:spPr>
        <p:txBody>
          <a:bodyPr anchor="b">
            <a:noAutofit/>
          </a:bodyPr>
          <a:lstStyle>
            <a:lvl1pPr marL="0" indent="0">
              <a:buNone/>
              <a:defRPr sz="2400" b="0">
                <a:solidFill>
                  <a:schemeClr val="accent1">
                    <a:lumMod val="60000"/>
                    <a:lumOff val="4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2" name="Picture Placeholder 2"/>
          <p:cNvSpPr>
            <a:spLocks noGrp="1" noChangeAspect="1"/>
          </p:cNvSpPr>
          <p:nvPr>
            <p:ph type="pic" idx="22"/>
          </p:nvPr>
        </p:nvSpPr>
        <p:spPr>
          <a:xfrm>
            <a:off x="8163031" y="2603500"/>
            <a:ext cx="2691242" cy="159151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4" name="Text Placeholder 3"/>
          <p:cNvSpPr>
            <a:spLocks noGrp="1"/>
          </p:cNvSpPr>
          <p:nvPr>
            <p:ph type="body" sz="half" idx="20"/>
          </p:nvPr>
        </p:nvSpPr>
        <p:spPr>
          <a:xfrm>
            <a:off x="7982775" y="5109104"/>
            <a:ext cx="3051096" cy="91795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cxnSp>
        <p:nvCxnSpPr>
          <p:cNvPr id="43" name="Straight Connector 42"/>
          <p:cNvCxnSpPr/>
          <p:nvPr/>
        </p:nvCxnSpPr>
        <p:spPr>
          <a:xfrm>
            <a:off x="4405831" y="2569633"/>
            <a:ext cx="0" cy="3492499"/>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p:nvCxnSpPr>
        <p:spPr>
          <a:xfrm>
            <a:off x="7797802" y="2569633"/>
            <a:ext cx="0" cy="3492499"/>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6"/>
          <p:cNvSpPr>
            <a:spLocks noGrp="1"/>
          </p:cNvSpPr>
          <p:nvPr>
            <p:ph type="dt" sz="half" idx="10"/>
          </p:nvPr>
        </p:nvSpPr>
        <p:spPr/>
        <p:txBody>
          <a:bodyPr/>
          <a:lstStyle/>
          <a:p>
            <a:fld id="{01394FE8-C606-4CBA-9305-967D4B2DCB84}" type="datetimeFigureOut">
              <a:rPr lang="en-GB" smtClean="0"/>
              <a:t>30/04/2021</a:t>
            </a:fld>
            <a:endParaRPr lang="en-GB"/>
          </a:p>
        </p:txBody>
      </p:sp>
      <p:sp>
        <p:nvSpPr>
          <p:cNvPr id="8" name="Footer Placeholder 7"/>
          <p:cNvSpPr>
            <a:spLocks noGrp="1"/>
          </p:cNvSpPr>
          <p:nvPr>
            <p:ph type="ftr" sz="quarter" idx="11"/>
          </p:nvPr>
        </p:nvSpPr>
        <p:spPr>
          <a:xfrm>
            <a:off x="561111" y="6391838"/>
            <a:ext cx="3644282" cy="304801"/>
          </a:xfrm>
        </p:spPr>
        <p:txBody>
          <a:bodyPr/>
          <a:lstStyle/>
          <a:p>
            <a:endParaRPr lang="en-GB"/>
          </a:p>
        </p:txBody>
      </p:sp>
      <p:sp>
        <p:nvSpPr>
          <p:cNvPr id="9" name="Slide Number Placeholder 8"/>
          <p:cNvSpPr>
            <a:spLocks noGrp="1"/>
          </p:cNvSpPr>
          <p:nvPr>
            <p:ph type="sldNum" sz="quarter" idx="12"/>
          </p:nvPr>
        </p:nvSpPr>
        <p:spPr/>
        <p:txBody>
          <a:bodyPr/>
          <a:lstStyle/>
          <a:p>
            <a:fld id="{6116B4E6-A90E-4A9C-A80E-032C75B95B5F}" type="slidenum">
              <a:rPr lang="en-GB" smtClean="0"/>
              <a:t>‹#›</a:t>
            </a:fld>
            <a:endParaRPr lang="en-GB"/>
          </a:p>
        </p:txBody>
      </p:sp>
    </p:spTree>
    <p:extLst>
      <p:ext uri="{BB962C8B-B14F-4D97-AF65-F5344CB8AC3E}">
        <p14:creationId xmlns:p14="http://schemas.microsoft.com/office/powerpoint/2010/main" val="29465733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1154954" y="973668"/>
            <a:ext cx="8825659" cy="706964"/>
          </a:xfrm>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1154954" y="2603500"/>
            <a:ext cx="8825659" cy="3416300"/>
          </a:xfrm>
        </p:spPr>
        <p:txBody>
          <a:bodyPr vert="eaVert" anchor="t" anchorCtr="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10695439" y="6391838"/>
            <a:ext cx="990599" cy="304799"/>
          </a:xfrm>
        </p:spPr>
        <p:txBody>
          <a:bodyPr/>
          <a:lstStyle/>
          <a:p>
            <a:fld id="{01394FE8-C606-4CBA-9305-967D4B2DCB84}" type="datetimeFigureOut">
              <a:rPr lang="en-GB" smtClean="0"/>
              <a:t>30/04/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116B4E6-A90E-4A9C-A80E-032C75B95B5F}" type="slidenum">
              <a:rPr lang="en-GB" smtClean="0"/>
              <a:t>‹#›</a:t>
            </a:fld>
            <a:endParaRPr lang="en-GB"/>
          </a:p>
        </p:txBody>
      </p:sp>
    </p:spTree>
    <p:extLst>
      <p:ext uri="{BB962C8B-B14F-4D97-AF65-F5344CB8AC3E}">
        <p14:creationId xmlns:p14="http://schemas.microsoft.com/office/powerpoint/2010/main" val="211264088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grpSp>
        <p:nvGrpSpPr>
          <p:cNvPr id="9" name="Group 8"/>
          <p:cNvGrpSpPr/>
          <p:nvPr/>
        </p:nvGrpSpPr>
        <p:grpSpPr>
          <a:xfrm>
            <a:off x="0" y="0"/>
            <a:ext cx="12192000" cy="6858000"/>
            <a:chOff x="0" y="0"/>
            <a:chExt cx="12192000" cy="6858000"/>
          </a:xfrm>
        </p:grpSpPr>
        <p:sp>
          <p:nvSpPr>
            <p:cNvPr id="12" name="Rectangle 11"/>
            <p:cNvSpPr/>
            <p:nvPr/>
          </p:nvSpPr>
          <p:spPr>
            <a:xfrm>
              <a:off x="0" y="0"/>
              <a:ext cx="12192000" cy="6858000"/>
            </a:xfrm>
            <a:prstGeom prst="rect">
              <a:avLst/>
            </a:prstGeom>
            <a:blipFill>
              <a:blip r:embed="rId2">
                <a:duotone>
                  <a:schemeClr val="dk2">
                    <a:shade val="69000"/>
                    <a:hueMod val="91000"/>
                    <a:satMod val="164000"/>
                    <a:lumMod val="74000"/>
                  </a:schemeClr>
                  <a:schemeClr val="dk2">
                    <a:hueMod val="124000"/>
                    <a:satMod val="140000"/>
                    <a:lumMod val="14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Oval 14"/>
            <p:cNvSpPr/>
            <p:nvPr/>
          </p:nvSpPr>
          <p:spPr>
            <a:xfrm>
              <a:off x="0"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0" name="Oval 19"/>
            <p:cNvSpPr/>
            <p:nvPr/>
          </p:nvSpPr>
          <p:spPr>
            <a:xfrm>
              <a:off x="7999412" y="8464"/>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7" name="Rectangle 6"/>
            <p:cNvSpPr/>
            <p:nvPr/>
          </p:nvSpPr>
          <p:spPr bwMode="gray">
            <a:xfrm>
              <a:off x="414867" y="402165"/>
              <a:ext cx="6510866" cy="60536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17" name="Freeform 5"/>
            <p:cNvSpPr/>
            <p:nvPr/>
          </p:nvSpPr>
          <p:spPr bwMode="gray">
            <a:xfrm rot="5101749">
              <a:off x="6294738" y="4577737"/>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0" name="Freeform 5"/>
            <p:cNvSpPr/>
            <p:nvPr/>
          </p:nvSpPr>
          <p:spPr bwMode="gray">
            <a:xfrm rot="5400000">
              <a:off x="4449232" y="2801721"/>
              <a:ext cx="6053670" cy="1254558"/>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3"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Vertical Title 1"/>
          <p:cNvSpPr>
            <a:spLocks noGrp="1"/>
          </p:cNvSpPr>
          <p:nvPr>
            <p:ph type="title" orient="vert"/>
          </p:nvPr>
        </p:nvSpPr>
        <p:spPr>
          <a:xfrm>
            <a:off x="8585235" y="1278467"/>
            <a:ext cx="1409965" cy="4748590"/>
          </a:xfrm>
        </p:spPr>
        <p:txBody>
          <a:bodyPr vert="eaVert" anchor="b" anchorCtr="0"/>
          <a:lstStyle/>
          <a:p>
            <a:r>
              <a:rPr lang="en-US"/>
              <a:t>Click to edit Master title style</a:t>
            </a:r>
            <a:endParaRPr lang="en-US" dirty="0"/>
          </a:p>
        </p:txBody>
      </p:sp>
      <p:sp>
        <p:nvSpPr>
          <p:cNvPr id="3" name="Vertical Text Placeholder 2"/>
          <p:cNvSpPr>
            <a:spLocks noGrp="1"/>
          </p:cNvSpPr>
          <p:nvPr>
            <p:ph type="body" orient="vert" idx="1"/>
          </p:nvPr>
        </p:nvSpPr>
        <p:spPr>
          <a:xfrm>
            <a:off x="1154954" y="1278467"/>
            <a:ext cx="6256025" cy="474859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10653104" y="6391838"/>
            <a:ext cx="992135" cy="304799"/>
          </a:xfrm>
        </p:spPr>
        <p:txBody>
          <a:bodyPr/>
          <a:lstStyle/>
          <a:p>
            <a:fld id="{01394FE8-C606-4CBA-9305-967D4B2DCB84}" type="datetimeFigureOut">
              <a:rPr lang="en-GB" smtClean="0"/>
              <a:t>30/04/2021</a:t>
            </a:fld>
            <a:endParaRPr lang="en-GB"/>
          </a:p>
        </p:txBody>
      </p:sp>
      <p:sp>
        <p:nvSpPr>
          <p:cNvPr id="5" name="Footer Placeholder 4"/>
          <p:cNvSpPr>
            <a:spLocks noGrp="1"/>
          </p:cNvSpPr>
          <p:nvPr>
            <p:ph type="ftr" sz="quarter" idx="11"/>
          </p:nvPr>
        </p:nvSpPr>
        <p:spPr/>
        <p:txBody>
          <a:bodyPr/>
          <a:lstStyle/>
          <a:p>
            <a:endParaRPr lang="en-GB"/>
          </a:p>
        </p:txBody>
      </p:sp>
      <p:sp>
        <p:nvSpPr>
          <p:cNvPr id="14" name="Rectangle 13"/>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6116B4E6-A90E-4A9C-A80E-032C75B95B5F}" type="slidenum">
              <a:rPr lang="en-GB" smtClean="0"/>
              <a:t>‹#›</a:t>
            </a:fld>
            <a:endParaRPr lang="en-GB"/>
          </a:p>
        </p:txBody>
      </p:sp>
    </p:spTree>
    <p:extLst>
      <p:ext uri="{BB962C8B-B14F-4D97-AF65-F5344CB8AC3E}">
        <p14:creationId xmlns:p14="http://schemas.microsoft.com/office/powerpoint/2010/main" val="13034703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1154954" y="2603500"/>
            <a:ext cx="8825659" cy="34163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1394FE8-C606-4CBA-9305-967D4B2DCB84}" type="datetimeFigureOut">
              <a:rPr lang="en-GB" smtClean="0"/>
              <a:t>30/04/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116B4E6-A90E-4A9C-A80E-032C75B95B5F}" type="slidenum">
              <a:rPr lang="en-GB" smtClean="0"/>
              <a:t>‹#›</a:t>
            </a:fld>
            <a:endParaRPr lang="en-GB"/>
          </a:p>
        </p:txBody>
      </p:sp>
    </p:spTree>
    <p:extLst>
      <p:ext uri="{BB962C8B-B14F-4D97-AF65-F5344CB8AC3E}">
        <p14:creationId xmlns:p14="http://schemas.microsoft.com/office/powerpoint/2010/main" val="15996013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pSp>
        <p:nvGrpSpPr>
          <p:cNvPr id="8" name="Group 7"/>
          <p:cNvGrpSpPr/>
          <p:nvPr/>
        </p:nvGrpSpPr>
        <p:grpSpPr>
          <a:xfrm>
            <a:off x="0" y="0"/>
            <a:ext cx="12192000" cy="6858000"/>
            <a:chOff x="0" y="0"/>
            <a:chExt cx="12192000" cy="6858000"/>
          </a:xfrm>
        </p:grpSpPr>
        <p:sp>
          <p:nvSpPr>
            <p:cNvPr id="14" name="Rectangle 13"/>
            <p:cNvSpPr/>
            <p:nvPr/>
          </p:nvSpPr>
          <p:spPr>
            <a:xfrm>
              <a:off x="0" y="0"/>
              <a:ext cx="12192000" cy="6858000"/>
            </a:xfrm>
            <a:prstGeom prst="rect">
              <a:avLst/>
            </a:prstGeom>
            <a:blipFill>
              <a:blip r:embed="rId2">
                <a:duotone>
                  <a:schemeClr val="dk2">
                    <a:shade val="69000"/>
                    <a:hueMod val="91000"/>
                    <a:satMod val="164000"/>
                    <a:lumMod val="74000"/>
                  </a:schemeClr>
                  <a:schemeClr val="dk2">
                    <a:hueMod val="124000"/>
                    <a:satMod val="140000"/>
                    <a:lumMod val="14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Oval 16"/>
            <p:cNvSpPr/>
            <p:nvPr/>
          </p:nvSpPr>
          <p:spPr>
            <a:xfrm>
              <a:off x="0"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0" name="Oval 19"/>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1" name="Oval 20"/>
            <p:cNvSpPr/>
            <p:nvPr/>
          </p:nvSpPr>
          <p:spPr>
            <a:xfrm>
              <a:off x="7999412" y="8464"/>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0" name="Rectangle 9"/>
            <p:cNvSpPr/>
            <p:nvPr/>
          </p:nvSpPr>
          <p:spPr bwMode="gray">
            <a:xfrm>
              <a:off x="7289800" y="402165"/>
              <a:ext cx="4478865" cy="60536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11" name="Freeform 5"/>
            <p:cNvSpPr/>
            <p:nvPr/>
          </p:nvSpPr>
          <p:spPr bwMode="gray">
            <a:xfrm rot="16200000">
              <a:off x="3787244" y="2801721"/>
              <a:ext cx="6053670" cy="1254558"/>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2" name="Freeform 5"/>
            <p:cNvSpPr/>
            <p:nvPr/>
          </p:nvSpPr>
          <p:spPr bwMode="gray">
            <a:xfrm rot="15922489">
              <a:off x="4698352" y="1826078"/>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5"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4" y="2677645"/>
            <a:ext cx="4351025" cy="2283824"/>
          </a:xfrm>
        </p:spPr>
        <p:txBody>
          <a:bodyPr anchor="ctr"/>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895559" y="2677644"/>
            <a:ext cx="3757545" cy="2283824"/>
          </a:xfrm>
        </p:spPr>
        <p:txBody>
          <a:bodyPr anchor="ctr"/>
          <a:lstStyle>
            <a:lvl1pPr marL="0" indent="0" algn="l">
              <a:buNone/>
              <a:defRPr sz="2000" cap="all">
                <a:solidFill>
                  <a:schemeClr val="accent1">
                    <a:lumMod val="60000"/>
                    <a:lumOff val="4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1394FE8-C606-4CBA-9305-967D4B2DCB84}" type="datetimeFigureOut">
              <a:rPr lang="en-GB" smtClean="0"/>
              <a:t>30/04/2021</a:t>
            </a:fld>
            <a:endParaRPr lang="en-GB"/>
          </a:p>
        </p:txBody>
      </p:sp>
      <p:sp>
        <p:nvSpPr>
          <p:cNvPr id="5" name="Footer Placeholder 4"/>
          <p:cNvSpPr>
            <a:spLocks noGrp="1"/>
          </p:cNvSpPr>
          <p:nvPr>
            <p:ph type="ftr" sz="quarter" idx="11"/>
          </p:nvPr>
        </p:nvSpPr>
        <p:spPr/>
        <p:txBody>
          <a:bodyPr/>
          <a:lstStyle/>
          <a:p>
            <a:endParaRPr lang="en-GB"/>
          </a:p>
        </p:txBody>
      </p:sp>
      <p:sp>
        <p:nvSpPr>
          <p:cNvPr id="16" name="Rectangle 15"/>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6116B4E6-A90E-4A9C-A80E-032C75B95B5F}" type="slidenum">
              <a:rPr lang="en-GB" smtClean="0"/>
              <a:t>‹#›</a:t>
            </a:fld>
            <a:endParaRPr lang="en-GB"/>
          </a:p>
        </p:txBody>
      </p:sp>
    </p:spTree>
    <p:extLst>
      <p:ext uri="{BB962C8B-B14F-4D97-AF65-F5344CB8AC3E}">
        <p14:creationId xmlns:p14="http://schemas.microsoft.com/office/powerpoint/2010/main" val="6077970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54954" y="2603500"/>
            <a:ext cx="4825158" cy="3416301"/>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08712" y="2603500"/>
            <a:ext cx="4825159" cy="3416300"/>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01394FE8-C606-4CBA-9305-967D4B2DCB84}" type="datetimeFigureOut">
              <a:rPr lang="en-GB" smtClean="0"/>
              <a:t>30/04/2021</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116B4E6-A90E-4A9C-A80E-032C75B95B5F}" type="slidenum">
              <a:rPr lang="en-GB" smtClean="0"/>
              <a:t>‹#›</a:t>
            </a:fld>
            <a:endParaRPr lang="en-GB"/>
          </a:p>
        </p:txBody>
      </p:sp>
    </p:spTree>
    <p:extLst>
      <p:ext uri="{BB962C8B-B14F-4D97-AF65-F5344CB8AC3E}">
        <p14:creationId xmlns:p14="http://schemas.microsoft.com/office/powerpoint/2010/main" val="34252574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1154954" y="2603500"/>
            <a:ext cx="4825157"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154954" y="3179762"/>
            <a:ext cx="4825158" cy="2840039"/>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08712" y="2603500"/>
            <a:ext cx="4825159"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208712" y="3179762"/>
            <a:ext cx="4825159" cy="2840039"/>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01394FE8-C606-4CBA-9305-967D4B2DCB84}" type="datetimeFigureOut">
              <a:rPr lang="en-GB" smtClean="0"/>
              <a:t>30/04/2021</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6116B4E6-A90E-4A9C-A80E-032C75B95B5F}" type="slidenum">
              <a:rPr lang="en-GB" smtClean="0"/>
              <a:t>‹#›</a:t>
            </a:fld>
            <a:endParaRPr lang="en-GB"/>
          </a:p>
        </p:txBody>
      </p:sp>
    </p:spTree>
    <p:extLst>
      <p:ext uri="{BB962C8B-B14F-4D97-AF65-F5344CB8AC3E}">
        <p14:creationId xmlns:p14="http://schemas.microsoft.com/office/powerpoint/2010/main" val="28315197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9" name="Title 1"/>
          <p:cNvSpPr>
            <a:spLocks noGrp="1"/>
          </p:cNvSpPr>
          <p:nvPr>
            <p:ph type="title"/>
          </p:nvPr>
        </p:nvSpPr>
        <p:spPr>
          <a:xfrm>
            <a:off x="1154954" y="973668"/>
            <a:ext cx="8761413" cy="706964"/>
          </a:xfrm>
        </p:spPr>
        <p:txBody>
          <a:bodyPr/>
          <a:lstStyle>
            <a:lvl1pPr>
              <a:defRPr/>
            </a:lvl1p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01394FE8-C606-4CBA-9305-967D4B2DCB84}" type="datetimeFigureOut">
              <a:rPr lang="en-GB" smtClean="0"/>
              <a:t>30/04/2021</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116B4E6-A90E-4A9C-A80E-032C75B95B5F}" type="slidenum">
              <a:rPr lang="en-GB" smtClean="0"/>
              <a:t>‹#›</a:t>
            </a:fld>
            <a:endParaRPr lang="en-GB"/>
          </a:p>
        </p:txBody>
      </p:sp>
    </p:spTree>
    <p:extLst>
      <p:ext uri="{BB962C8B-B14F-4D97-AF65-F5344CB8AC3E}">
        <p14:creationId xmlns:p14="http://schemas.microsoft.com/office/powerpoint/2010/main" val="37335244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1394FE8-C606-4CBA-9305-967D4B2DCB84}" type="datetimeFigureOut">
              <a:rPr lang="en-GB" smtClean="0"/>
              <a:t>30/04/2021</a:t>
            </a:fld>
            <a:endParaRPr lang="en-GB"/>
          </a:p>
        </p:txBody>
      </p:sp>
      <p:sp>
        <p:nvSpPr>
          <p:cNvPr id="3" name="Footer Placeholder 2"/>
          <p:cNvSpPr>
            <a:spLocks noGrp="1"/>
          </p:cNvSpPr>
          <p:nvPr>
            <p:ph type="ftr" sz="quarter" idx="11"/>
          </p:nvPr>
        </p:nvSpPr>
        <p:spPr/>
        <p:txBody>
          <a:bodyPr/>
          <a:lstStyle/>
          <a:p>
            <a:endParaRPr lang="en-GB"/>
          </a:p>
        </p:txBody>
      </p:sp>
      <p:sp>
        <p:nvSpPr>
          <p:cNvPr id="7" name="Rectangle 6"/>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4" name="Slide Number Placeholder 3"/>
          <p:cNvSpPr>
            <a:spLocks noGrp="1"/>
          </p:cNvSpPr>
          <p:nvPr>
            <p:ph type="sldNum" sz="quarter" idx="12"/>
          </p:nvPr>
        </p:nvSpPr>
        <p:spPr/>
        <p:txBody>
          <a:bodyPr/>
          <a:lstStyle/>
          <a:p>
            <a:fld id="{6116B4E6-A90E-4A9C-A80E-032C75B95B5F}" type="slidenum">
              <a:rPr lang="en-GB" smtClean="0"/>
              <a:t>‹#›</a:t>
            </a:fld>
            <a:endParaRPr lang="en-GB"/>
          </a:p>
        </p:txBody>
      </p:sp>
    </p:spTree>
    <p:extLst>
      <p:ext uri="{BB962C8B-B14F-4D97-AF65-F5344CB8AC3E}">
        <p14:creationId xmlns:p14="http://schemas.microsoft.com/office/powerpoint/2010/main" val="16570912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pSp>
        <p:nvGrpSpPr>
          <p:cNvPr id="9" name="Group 8"/>
          <p:cNvGrpSpPr/>
          <p:nvPr/>
        </p:nvGrpSpPr>
        <p:grpSpPr>
          <a:xfrm>
            <a:off x="0" y="0"/>
            <a:ext cx="12192000" cy="6858000"/>
            <a:chOff x="0" y="0"/>
            <a:chExt cx="12192000" cy="6858000"/>
          </a:xfrm>
        </p:grpSpPr>
        <p:sp>
          <p:nvSpPr>
            <p:cNvPr id="14" name="Rectangle 13"/>
            <p:cNvSpPr/>
            <p:nvPr/>
          </p:nvSpPr>
          <p:spPr>
            <a:xfrm>
              <a:off x="0" y="0"/>
              <a:ext cx="12192000" cy="6858000"/>
            </a:xfrm>
            <a:prstGeom prst="rect">
              <a:avLst/>
            </a:prstGeom>
            <a:blipFill>
              <a:blip r:embed="rId2">
                <a:duotone>
                  <a:schemeClr val="dk2">
                    <a:shade val="69000"/>
                    <a:hueMod val="91000"/>
                    <a:satMod val="164000"/>
                    <a:lumMod val="74000"/>
                  </a:schemeClr>
                  <a:schemeClr val="dk2">
                    <a:hueMod val="124000"/>
                    <a:satMod val="140000"/>
                    <a:lumMod val="14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Oval 16"/>
            <p:cNvSpPr/>
            <p:nvPr/>
          </p:nvSpPr>
          <p:spPr>
            <a:xfrm>
              <a:off x="0"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0" name="Oval 19"/>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1" name="Oval 20"/>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2" name="Oval 21"/>
            <p:cNvSpPr/>
            <p:nvPr/>
          </p:nvSpPr>
          <p:spPr>
            <a:xfrm>
              <a:off x="7999412" y="8464"/>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1" name="Rectangle 10"/>
            <p:cNvSpPr/>
            <p:nvPr/>
          </p:nvSpPr>
          <p:spPr bwMode="gray">
            <a:xfrm>
              <a:off x="5713412" y="402165"/>
              <a:ext cx="6055253" cy="60536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18" name="Freeform 5"/>
            <p:cNvSpPr/>
            <p:nvPr/>
          </p:nvSpPr>
          <p:spPr bwMode="gray">
            <a:xfrm rot="15922489">
              <a:off x="3140485" y="1826078"/>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2" name="Freeform 5"/>
            <p:cNvSpPr/>
            <p:nvPr/>
          </p:nvSpPr>
          <p:spPr bwMode="gray">
            <a:xfrm rot="16200000">
              <a:off x="2229377" y="2801721"/>
              <a:ext cx="6053670" cy="1254558"/>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5"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5" y="1295400"/>
            <a:ext cx="2793158" cy="1600200"/>
          </a:xfrm>
        </p:spPr>
        <p:txBody>
          <a:bodyPr anchor="b"/>
          <a:lstStyle>
            <a:lvl1pPr algn="l">
              <a:defRPr sz="2400" b="0"/>
            </a:lvl1pPr>
          </a:lstStyle>
          <a:p>
            <a:r>
              <a:rPr lang="en-US"/>
              <a:t>Click to edit Master title style</a:t>
            </a:r>
            <a:endParaRPr lang="en-US" dirty="0"/>
          </a:p>
        </p:txBody>
      </p:sp>
      <p:sp>
        <p:nvSpPr>
          <p:cNvPr id="3" name="Content Placeholder 2"/>
          <p:cNvSpPr>
            <a:spLocks noGrp="1"/>
          </p:cNvSpPr>
          <p:nvPr>
            <p:ph idx="1"/>
          </p:nvPr>
        </p:nvSpPr>
        <p:spPr>
          <a:xfrm>
            <a:off x="5781146" y="1447800"/>
            <a:ext cx="5190066" cy="4572000"/>
          </a:xfrm>
        </p:spPr>
        <p:txBody>
          <a:bodyPr anchor="ct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bwMode="gray">
          <a:xfrm>
            <a:off x="1154954" y="3129280"/>
            <a:ext cx="2793158" cy="2895599"/>
          </a:xfrm>
        </p:spPr>
        <p:txBody>
          <a:bodyPr/>
          <a:lstStyle>
            <a:lvl1pPr marL="0" indent="0">
              <a:buNone/>
              <a:defRPr sz="1400">
                <a:solidFill>
                  <a:schemeClr val="accent1">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01394FE8-C606-4CBA-9305-967D4B2DCB84}" type="datetimeFigureOut">
              <a:rPr lang="en-GB" smtClean="0"/>
              <a:t>30/04/2021</a:t>
            </a:fld>
            <a:endParaRPr lang="en-GB"/>
          </a:p>
        </p:txBody>
      </p:sp>
      <p:sp>
        <p:nvSpPr>
          <p:cNvPr id="6" name="Footer Placeholder 5"/>
          <p:cNvSpPr>
            <a:spLocks noGrp="1"/>
          </p:cNvSpPr>
          <p:nvPr>
            <p:ph type="ftr" sz="quarter" idx="11"/>
          </p:nvPr>
        </p:nvSpPr>
        <p:spPr/>
        <p:txBody>
          <a:bodyPr/>
          <a:lstStyle/>
          <a:p>
            <a:endParaRPr lang="en-GB"/>
          </a:p>
        </p:txBody>
      </p:sp>
      <p:sp>
        <p:nvSpPr>
          <p:cNvPr id="16" name="Rectangle 15"/>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7" name="Slide Number Placeholder 6"/>
          <p:cNvSpPr>
            <a:spLocks noGrp="1"/>
          </p:cNvSpPr>
          <p:nvPr>
            <p:ph type="sldNum" sz="quarter" idx="12"/>
          </p:nvPr>
        </p:nvSpPr>
        <p:spPr/>
        <p:txBody>
          <a:bodyPr/>
          <a:lstStyle/>
          <a:p>
            <a:fld id="{6116B4E6-A90E-4A9C-A80E-032C75B95B5F}" type="slidenum">
              <a:rPr lang="en-GB" smtClean="0"/>
              <a:t>‹#›</a:t>
            </a:fld>
            <a:endParaRPr lang="en-GB"/>
          </a:p>
        </p:txBody>
      </p:sp>
    </p:spTree>
    <p:extLst>
      <p:ext uri="{BB962C8B-B14F-4D97-AF65-F5344CB8AC3E}">
        <p14:creationId xmlns:p14="http://schemas.microsoft.com/office/powerpoint/2010/main" val="3888505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pSp>
        <p:nvGrpSpPr>
          <p:cNvPr id="9" name="Group 8"/>
          <p:cNvGrpSpPr/>
          <p:nvPr/>
        </p:nvGrpSpPr>
        <p:grpSpPr>
          <a:xfrm>
            <a:off x="0" y="0"/>
            <a:ext cx="12192000" cy="6858000"/>
            <a:chOff x="0" y="0"/>
            <a:chExt cx="12192000" cy="6858000"/>
          </a:xfrm>
        </p:grpSpPr>
        <p:sp>
          <p:nvSpPr>
            <p:cNvPr id="14" name="Rectangle 13"/>
            <p:cNvSpPr/>
            <p:nvPr/>
          </p:nvSpPr>
          <p:spPr>
            <a:xfrm>
              <a:off x="0" y="0"/>
              <a:ext cx="12192000" cy="6858000"/>
            </a:xfrm>
            <a:prstGeom prst="rect">
              <a:avLst/>
            </a:prstGeom>
            <a:blipFill>
              <a:blip r:embed="rId2">
                <a:duotone>
                  <a:schemeClr val="dk2">
                    <a:shade val="69000"/>
                    <a:hueMod val="91000"/>
                    <a:satMod val="164000"/>
                    <a:lumMod val="74000"/>
                  </a:schemeClr>
                  <a:schemeClr val="dk2">
                    <a:hueMod val="124000"/>
                    <a:satMod val="140000"/>
                    <a:lumMod val="14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Oval 16"/>
            <p:cNvSpPr/>
            <p:nvPr/>
          </p:nvSpPr>
          <p:spPr>
            <a:xfrm>
              <a:off x="0"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0" name="Oval 19"/>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1" name="Oval 20"/>
            <p:cNvSpPr/>
            <p:nvPr/>
          </p:nvSpPr>
          <p:spPr>
            <a:xfrm>
              <a:off x="7999412" y="8464"/>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1" name="Rectangle 10"/>
            <p:cNvSpPr/>
            <p:nvPr/>
          </p:nvSpPr>
          <p:spPr bwMode="gray">
            <a:xfrm>
              <a:off x="6172200" y="402165"/>
              <a:ext cx="5596465" cy="60536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22" name="Freeform 5"/>
            <p:cNvSpPr/>
            <p:nvPr/>
          </p:nvSpPr>
          <p:spPr bwMode="gray">
            <a:xfrm rot="15922489">
              <a:off x="4203594" y="1826078"/>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2" name="Freeform 5"/>
            <p:cNvSpPr/>
            <p:nvPr/>
          </p:nvSpPr>
          <p:spPr bwMode="gray">
            <a:xfrm rot="16200000">
              <a:off x="3295432" y="2801721"/>
              <a:ext cx="6053670" cy="1254558"/>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5"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5" y="1693333"/>
            <a:ext cx="3865134" cy="1735667"/>
          </a:xfrm>
        </p:spPr>
        <p:txBody>
          <a:bodyPr anchor="b">
            <a:normAutofit/>
          </a:bodyPr>
          <a:lstStyle>
            <a:lvl1pPr algn="l">
              <a:defRPr sz="36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547870" y="1143000"/>
            <a:ext cx="3227193" cy="4572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marL="0" lvl="0" indent="0" algn="ctr">
              <a:buNone/>
            </a:pPr>
            <a:r>
              <a:rPr lang="en-US"/>
              <a:t>Click icon to add picture</a:t>
            </a:r>
            <a:endParaRPr lang="en-US" dirty="0"/>
          </a:p>
        </p:txBody>
      </p:sp>
      <p:sp>
        <p:nvSpPr>
          <p:cNvPr id="4" name="Text Placeholder 3"/>
          <p:cNvSpPr>
            <a:spLocks noGrp="1"/>
          </p:cNvSpPr>
          <p:nvPr>
            <p:ph type="body" sz="half" idx="2"/>
          </p:nvPr>
        </p:nvSpPr>
        <p:spPr bwMode="gray">
          <a:xfrm>
            <a:off x="1154954" y="3657600"/>
            <a:ext cx="3859212" cy="1371600"/>
          </a:xfrm>
        </p:spPr>
        <p:txBody>
          <a:bodyPr>
            <a:normAutofit/>
          </a:bodyPr>
          <a:lstStyle>
            <a:lvl1pPr marL="0" indent="0">
              <a:buNone/>
              <a:defRPr sz="1400">
                <a:solidFill>
                  <a:schemeClr val="accent1">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01394FE8-C606-4CBA-9305-967D4B2DCB84}" type="datetimeFigureOut">
              <a:rPr lang="en-GB" smtClean="0"/>
              <a:t>30/04/2021</a:t>
            </a:fld>
            <a:endParaRPr lang="en-GB"/>
          </a:p>
        </p:txBody>
      </p:sp>
      <p:sp>
        <p:nvSpPr>
          <p:cNvPr id="6" name="Footer Placeholder 5"/>
          <p:cNvSpPr>
            <a:spLocks noGrp="1"/>
          </p:cNvSpPr>
          <p:nvPr>
            <p:ph type="ftr" sz="quarter" idx="11"/>
          </p:nvPr>
        </p:nvSpPr>
        <p:spPr/>
        <p:txBody>
          <a:bodyPr/>
          <a:lstStyle/>
          <a:p>
            <a:endParaRPr lang="en-GB"/>
          </a:p>
        </p:txBody>
      </p:sp>
      <p:sp>
        <p:nvSpPr>
          <p:cNvPr id="16" name="Rectangle 15"/>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7" name="Slide Number Placeholder 6"/>
          <p:cNvSpPr>
            <a:spLocks noGrp="1"/>
          </p:cNvSpPr>
          <p:nvPr>
            <p:ph type="sldNum" sz="quarter" idx="12"/>
          </p:nvPr>
        </p:nvSpPr>
        <p:spPr/>
        <p:txBody>
          <a:bodyPr/>
          <a:lstStyle/>
          <a:p>
            <a:fld id="{6116B4E6-A90E-4A9C-A80E-032C75B95B5F}" type="slidenum">
              <a:rPr lang="en-GB" smtClean="0"/>
              <a:t>‹#›</a:t>
            </a:fld>
            <a:endParaRPr lang="en-GB"/>
          </a:p>
        </p:txBody>
      </p:sp>
    </p:spTree>
    <p:extLst>
      <p:ext uri="{BB962C8B-B14F-4D97-AF65-F5344CB8AC3E}">
        <p14:creationId xmlns:p14="http://schemas.microsoft.com/office/powerpoint/2010/main" val="32659114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8" name="Group 7"/>
          <p:cNvGrpSpPr/>
          <p:nvPr/>
        </p:nvGrpSpPr>
        <p:grpSpPr>
          <a:xfrm>
            <a:off x="0" y="0"/>
            <a:ext cx="12192000" cy="6858000"/>
            <a:chOff x="0" y="0"/>
            <a:chExt cx="12192000" cy="6858000"/>
          </a:xfrm>
        </p:grpSpPr>
        <p:sp>
          <p:nvSpPr>
            <p:cNvPr id="7" name="Rectangle 6"/>
            <p:cNvSpPr/>
            <p:nvPr/>
          </p:nvSpPr>
          <p:spPr>
            <a:xfrm>
              <a:off x="0" y="0"/>
              <a:ext cx="12192000" cy="6858000"/>
            </a:xfrm>
            <a:prstGeom prst="rect">
              <a:avLst/>
            </a:prstGeom>
            <a:blipFill>
              <a:blip r:embed="rId22">
                <a:duotone>
                  <a:schemeClr val="dk2">
                    <a:shade val="69000"/>
                    <a:hueMod val="91000"/>
                    <a:satMod val="164000"/>
                    <a:lumMod val="74000"/>
                  </a:schemeClr>
                  <a:schemeClr val="dk2">
                    <a:hueMod val="124000"/>
                    <a:satMod val="140000"/>
                    <a:lumMod val="14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3" name="Oval 12"/>
            <p:cNvSpPr/>
            <p:nvPr/>
          </p:nvSpPr>
          <p:spPr>
            <a:xfrm>
              <a:off x="0"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5" name="Oval 14"/>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8609012" y="5867400"/>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860901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7999412" y="8464"/>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0" name="Freeform 5"/>
            <p:cNvSpPr/>
            <p:nvPr/>
          </p:nvSpPr>
          <p:spPr bwMode="gray">
            <a:xfrm rot="21010068">
              <a:off x="8490951" y="1797517"/>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9" name="Freeform 5"/>
            <p:cNvSpPr/>
            <p:nvPr/>
          </p:nvSpPr>
          <p:spPr bwMode="gray">
            <a:xfrm>
              <a:off x="459506" y="1866405"/>
              <a:ext cx="11277600" cy="4533900"/>
            </a:xfrm>
            <a:custGeom>
              <a:avLst/>
              <a:gdLst/>
              <a:ahLst/>
              <a:cxnLst/>
              <a:rect l="0" t="0" r="r" b="b"/>
              <a:pathLst>
                <a:path w="7104" h="2856">
                  <a:moveTo>
                    <a:pt x="0" y="0"/>
                  </a:moveTo>
                  <a:lnTo>
                    <a:pt x="0" y="2856"/>
                  </a:lnTo>
                  <a:lnTo>
                    <a:pt x="7104" y="2856"/>
                  </a:lnTo>
                  <a:lnTo>
                    <a:pt x="7104" y="1"/>
                  </a:lnTo>
                  <a:lnTo>
                    <a:pt x="7104" y="1"/>
                  </a:lnTo>
                  <a:lnTo>
                    <a:pt x="6943" y="26"/>
                  </a:lnTo>
                  <a:lnTo>
                    <a:pt x="6782" y="50"/>
                  </a:lnTo>
                  <a:lnTo>
                    <a:pt x="6621" y="73"/>
                  </a:lnTo>
                  <a:lnTo>
                    <a:pt x="6459" y="93"/>
                  </a:lnTo>
                  <a:lnTo>
                    <a:pt x="6298" y="113"/>
                  </a:lnTo>
                  <a:lnTo>
                    <a:pt x="6136" y="132"/>
                  </a:lnTo>
                  <a:lnTo>
                    <a:pt x="5976" y="148"/>
                  </a:lnTo>
                  <a:lnTo>
                    <a:pt x="5814" y="163"/>
                  </a:lnTo>
                  <a:lnTo>
                    <a:pt x="5653" y="177"/>
                  </a:lnTo>
                  <a:lnTo>
                    <a:pt x="5494" y="189"/>
                  </a:lnTo>
                  <a:lnTo>
                    <a:pt x="5334" y="201"/>
                  </a:lnTo>
                  <a:lnTo>
                    <a:pt x="5175" y="211"/>
                  </a:lnTo>
                  <a:lnTo>
                    <a:pt x="5017" y="219"/>
                  </a:lnTo>
                  <a:lnTo>
                    <a:pt x="4859" y="227"/>
                  </a:lnTo>
                  <a:lnTo>
                    <a:pt x="4703" y="234"/>
                  </a:lnTo>
                  <a:lnTo>
                    <a:pt x="4548" y="239"/>
                  </a:lnTo>
                  <a:lnTo>
                    <a:pt x="4393" y="243"/>
                  </a:lnTo>
                  <a:lnTo>
                    <a:pt x="4240" y="247"/>
                  </a:lnTo>
                  <a:lnTo>
                    <a:pt x="4088" y="249"/>
                  </a:lnTo>
                  <a:lnTo>
                    <a:pt x="3937" y="251"/>
                  </a:lnTo>
                  <a:lnTo>
                    <a:pt x="3788" y="252"/>
                  </a:lnTo>
                  <a:lnTo>
                    <a:pt x="3640" y="251"/>
                  </a:lnTo>
                  <a:lnTo>
                    <a:pt x="3494" y="251"/>
                  </a:lnTo>
                  <a:lnTo>
                    <a:pt x="3349" y="249"/>
                  </a:lnTo>
                  <a:lnTo>
                    <a:pt x="3207" y="246"/>
                  </a:lnTo>
                  <a:lnTo>
                    <a:pt x="3066" y="243"/>
                  </a:lnTo>
                  <a:lnTo>
                    <a:pt x="2928" y="240"/>
                  </a:lnTo>
                  <a:lnTo>
                    <a:pt x="2791" y="235"/>
                  </a:lnTo>
                  <a:lnTo>
                    <a:pt x="2656" y="230"/>
                  </a:lnTo>
                  <a:lnTo>
                    <a:pt x="2524" y="225"/>
                  </a:lnTo>
                  <a:lnTo>
                    <a:pt x="2266" y="212"/>
                  </a:lnTo>
                  <a:lnTo>
                    <a:pt x="2019" y="198"/>
                  </a:lnTo>
                  <a:lnTo>
                    <a:pt x="1782" y="183"/>
                  </a:lnTo>
                  <a:lnTo>
                    <a:pt x="1557" y="167"/>
                  </a:lnTo>
                  <a:lnTo>
                    <a:pt x="1343" y="150"/>
                  </a:lnTo>
                  <a:lnTo>
                    <a:pt x="1144" y="132"/>
                  </a:lnTo>
                  <a:lnTo>
                    <a:pt x="957" y="114"/>
                  </a:lnTo>
                  <a:lnTo>
                    <a:pt x="785" y="96"/>
                  </a:lnTo>
                  <a:lnTo>
                    <a:pt x="627" y="79"/>
                  </a:lnTo>
                  <a:lnTo>
                    <a:pt x="487" y="63"/>
                  </a:lnTo>
                  <a:lnTo>
                    <a:pt x="361" y="48"/>
                  </a:lnTo>
                  <a:lnTo>
                    <a:pt x="254" y="35"/>
                  </a:lnTo>
                  <a:lnTo>
                    <a:pt x="165" y="23"/>
                  </a:lnTo>
                  <a:lnTo>
                    <a:pt x="42" y="6"/>
                  </a:lnTo>
                  <a:lnTo>
                    <a:pt x="0" y="0"/>
                  </a:lnTo>
                  <a:lnTo>
                    <a:pt x="0" y="0"/>
                  </a:lnTo>
                  <a:close/>
                </a:path>
              </a:pathLst>
            </a:custGeom>
            <a:solidFill>
              <a:schemeClr val="bg1"/>
            </a:solidFill>
            <a:ln>
              <a:noFill/>
            </a:ln>
          </p:spPr>
        </p:sp>
        <p:sp>
          <p:nvSpPr>
            <p:cNvPr id="14"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Placeholder 1"/>
          <p:cNvSpPr>
            <a:spLocks noGrp="1"/>
          </p:cNvSpPr>
          <p:nvPr>
            <p:ph type="title"/>
          </p:nvPr>
        </p:nvSpPr>
        <p:spPr bwMode="gray">
          <a:xfrm>
            <a:off x="1154954" y="973668"/>
            <a:ext cx="8761413" cy="706964"/>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3" name="Text Placeholder 2"/>
          <p:cNvSpPr>
            <a:spLocks noGrp="1"/>
          </p:cNvSpPr>
          <p:nvPr>
            <p:ph type="body" idx="1"/>
          </p:nvPr>
        </p:nvSpPr>
        <p:spPr>
          <a:xfrm>
            <a:off x="1154954" y="2603500"/>
            <a:ext cx="8761413" cy="34163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653104" y="6391838"/>
            <a:ext cx="990599" cy="304799"/>
          </a:xfrm>
          <a:prstGeom prst="rect">
            <a:avLst/>
          </a:prstGeom>
        </p:spPr>
        <p:txBody>
          <a:bodyPr vert="horz" lIns="91440" tIns="45720" rIns="91440" bIns="45720" rtlCol="0" anchor="ctr"/>
          <a:lstStyle>
            <a:lvl1pPr algn="r">
              <a:defRPr sz="1000" b="1" i="0">
                <a:solidFill>
                  <a:schemeClr val="accent1"/>
                </a:solidFill>
              </a:defRPr>
            </a:lvl1pPr>
          </a:lstStyle>
          <a:p>
            <a:fld id="{01394FE8-C606-4CBA-9305-967D4B2DCB84}" type="datetimeFigureOut">
              <a:rPr lang="en-GB" smtClean="0"/>
              <a:t>30/04/2021</a:t>
            </a:fld>
            <a:endParaRPr lang="en-GB"/>
          </a:p>
        </p:txBody>
      </p:sp>
      <p:sp>
        <p:nvSpPr>
          <p:cNvPr id="5" name="Footer Placeholder 4"/>
          <p:cNvSpPr>
            <a:spLocks noGrp="1"/>
          </p:cNvSpPr>
          <p:nvPr>
            <p:ph type="ftr" sz="quarter" idx="3"/>
          </p:nvPr>
        </p:nvSpPr>
        <p:spPr>
          <a:xfrm>
            <a:off x="561110" y="6391838"/>
            <a:ext cx="3859795" cy="304801"/>
          </a:xfrm>
          <a:prstGeom prst="rect">
            <a:avLst/>
          </a:prstGeom>
        </p:spPr>
        <p:txBody>
          <a:bodyPr vert="horz" lIns="91440" tIns="45720" rIns="91440" bIns="45720" rtlCol="0" anchor="ctr"/>
          <a:lstStyle>
            <a:lvl1pPr algn="l">
              <a:defRPr sz="1000" b="1" i="0">
                <a:solidFill>
                  <a:schemeClr val="accent1"/>
                </a:solidFill>
              </a:defRPr>
            </a:lvl1pPr>
          </a:lstStyle>
          <a:p>
            <a:endParaRPr lang="en-GB"/>
          </a:p>
        </p:txBody>
      </p:sp>
      <p:sp>
        <p:nvSpPr>
          <p:cNvPr id="21" name="Rectangle 20"/>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a:lstStyle/>
          <a:p>
            <a:endParaRPr lang="en-GB"/>
          </a:p>
        </p:txBody>
      </p:sp>
      <p:sp>
        <p:nvSpPr>
          <p:cNvPr id="6" name="Slide Number Placeholder 5"/>
          <p:cNvSpPr>
            <a:spLocks noGrp="1"/>
          </p:cNvSpPr>
          <p:nvPr>
            <p:ph type="sldNum" sz="quarter" idx="4"/>
          </p:nvPr>
        </p:nvSpPr>
        <p:spPr bwMode="gray">
          <a:xfrm>
            <a:off x="10352540" y="295729"/>
            <a:ext cx="838199" cy="767687"/>
          </a:xfrm>
          <a:prstGeom prst="rect">
            <a:avLst/>
          </a:prstGeom>
        </p:spPr>
        <p:txBody>
          <a:bodyPr vert="horz" lIns="91440" tIns="45720" rIns="91440" bIns="45720" rtlCol="0" anchor="b"/>
          <a:lstStyle>
            <a:lvl1pPr algn="ctr">
              <a:defRPr sz="2800" b="0" i="0">
                <a:solidFill>
                  <a:schemeClr val="bg1"/>
                </a:solidFill>
              </a:defRPr>
            </a:lvl1pPr>
          </a:lstStyle>
          <a:p>
            <a:fld id="{6116B4E6-A90E-4A9C-A80E-032C75B95B5F}" type="slidenum">
              <a:rPr lang="en-GB" smtClean="0"/>
              <a:t>‹#›</a:t>
            </a:fld>
            <a:endParaRPr lang="en-GB"/>
          </a:p>
        </p:txBody>
      </p:sp>
      <p:graphicFrame>
        <p:nvGraphicFramePr>
          <p:cNvPr id="22" name="Object 21" hidden="1">
            <a:extLst>
              <a:ext uri="{FF2B5EF4-FFF2-40B4-BE49-F238E27FC236}">
                <a16:creationId xmlns:a16="http://schemas.microsoft.com/office/drawing/2014/main" id="{9564626A-E478-4021-8FED-F7A5C7D59A88}"/>
              </a:ext>
            </a:extLst>
          </p:cNvPr>
          <p:cNvGraphicFramePr>
            <a:graphicFrameLocks noChangeAspect="1"/>
          </p:cNvGraphicFramePr>
          <p:nvPr userDrawn="1">
            <p:custDataLst>
              <p:tags r:id="rId20"/>
            </p:custDataLst>
            <p:extLst>
              <p:ext uri="{D42A27DB-BD31-4B8C-83A1-F6EECF244321}">
                <p14:modId xmlns:p14="http://schemas.microsoft.com/office/powerpoint/2010/main" val="26996496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23" imgW="395" imgH="394" progId="TCLayout.ActiveDocument.1">
                  <p:embed/>
                </p:oleObj>
              </mc:Choice>
              <mc:Fallback>
                <p:oleObj name="think-cell Slide" r:id="rId23" imgW="395" imgH="394" progId="TCLayout.ActiveDocument.1">
                  <p:embed/>
                  <p:pic>
                    <p:nvPicPr>
                      <p:cNvPr id="22" name="Object 21" hidden="1">
                        <a:extLst>
                          <a:ext uri="{FF2B5EF4-FFF2-40B4-BE49-F238E27FC236}">
                            <a16:creationId xmlns:a16="http://schemas.microsoft.com/office/drawing/2014/main" id="{9564626A-E478-4021-8FED-F7A5C7D59A88}"/>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B47DC358-D26B-4DEE-A1A9-B84573DCF3E8}"/>
              </a:ext>
            </a:extLst>
          </p:cNvPr>
          <p:cNvSpPr/>
          <p:nvPr userDrawn="1">
            <p:custDataLst>
              <p:tags r:id="rId2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Tree>
    <p:extLst>
      <p:ext uri="{BB962C8B-B14F-4D97-AF65-F5344CB8AC3E}">
        <p14:creationId xmlns:p14="http://schemas.microsoft.com/office/powerpoint/2010/main" val="346029378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Lst>
  <p:txStyles>
    <p:titleStyle>
      <a:lvl1pPr algn="l" defTabSz="457200" rtl="0" eaLnBrk="1" latinLnBrk="0" hangingPunct="1">
        <a:spcBef>
          <a:spcPct val="0"/>
        </a:spcBef>
        <a:buNone/>
        <a:defRPr sz="3600" b="0" i="0" kern="1200">
          <a:solidFill>
            <a:schemeClr val="bg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5.png"/><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6.png"/><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7.png"/><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2.emf"/><Relationship Id="rId5" Type="http://schemas.openxmlformats.org/officeDocument/2006/relationships/oleObject" Target="../embeddings/oleObject18.bin"/><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hyperlink" Target="https://www.cityrealty.com/nyc/market-insight/features/get-to-know/average-nyc-condo-prices-neighborhood-june-2018/18804" TargetMode="Externa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3.pn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4.JPG"/><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332FCFC-0C46-4C6C-A33F-A543710A15C6}"/>
              </a:ext>
            </a:extLst>
          </p:cNvPr>
          <p:cNvGraphicFramePr>
            <a:graphicFrameLocks noChangeAspect="1"/>
          </p:cNvGraphicFramePr>
          <p:nvPr>
            <p:custDataLst>
              <p:tags r:id="rId2"/>
            </p:custDataLst>
            <p:extLst>
              <p:ext uri="{D42A27DB-BD31-4B8C-83A1-F6EECF244321}">
                <p14:modId xmlns:p14="http://schemas.microsoft.com/office/powerpoint/2010/main" val="618733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2332FCFC-0C46-4C6C-A33F-A543710A15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235825E-D306-4E74-A8A6-7F5B90AAAB3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500"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4FAC235E-492F-499D-9A7C-6B66C06F23C3}"/>
              </a:ext>
            </a:extLst>
          </p:cNvPr>
          <p:cNvSpPr>
            <a:spLocks noGrp="1"/>
          </p:cNvSpPr>
          <p:nvPr>
            <p:ph type="ctrTitle"/>
          </p:nvPr>
        </p:nvSpPr>
        <p:spPr/>
        <p:txBody>
          <a:bodyPr>
            <a:normAutofit fontScale="90000"/>
          </a:bodyPr>
          <a:lstStyle/>
          <a:p>
            <a:r>
              <a:rPr lang="en-US" sz="4400" b="1" dirty="0">
                <a:solidFill>
                  <a:schemeClr val="bg1"/>
                </a:solidFill>
              </a:rPr>
              <a:t>Coursera Capstone Project : Applied Data</a:t>
            </a:r>
            <a:br>
              <a:rPr lang="en-US" sz="4400" b="1" dirty="0">
                <a:solidFill>
                  <a:schemeClr val="bg1"/>
                </a:solidFill>
              </a:rPr>
            </a:br>
            <a:r>
              <a:rPr lang="en-GB" sz="4400" b="1" dirty="0">
                <a:solidFill>
                  <a:schemeClr val="bg1"/>
                </a:solidFill>
              </a:rPr>
              <a:t>Science</a:t>
            </a:r>
            <a:br>
              <a:rPr lang="en-GB" sz="4000" dirty="0">
                <a:solidFill>
                  <a:schemeClr val="bg1"/>
                </a:solidFill>
              </a:rPr>
            </a:br>
            <a:br>
              <a:rPr lang="en-GB" sz="2800" dirty="0">
                <a:solidFill>
                  <a:schemeClr val="bg1"/>
                </a:solidFill>
              </a:rPr>
            </a:br>
            <a:r>
              <a:rPr lang="en-GB" sz="2800" dirty="0">
                <a:solidFill>
                  <a:schemeClr val="bg1"/>
                </a:solidFill>
              </a:rPr>
              <a:t>CLAUSSE GILLES</a:t>
            </a:r>
            <a:br>
              <a:rPr lang="en-GB" sz="4000" dirty="0"/>
            </a:br>
            <a:endParaRPr lang="en-GB" sz="4000" dirty="0"/>
          </a:p>
        </p:txBody>
      </p:sp>
      <p:sp>
        <p:nvSpPr>
          <p:cNvPr id="3" name="Subtitle 2">
            <a:extLst>
              <a:ext uri="{FF2B5EF4-FFF2-40B4-BE49-F238E27FC236}">
                <a16:creationId xmlns:a16="http://schemas.microsoft.com/office/drawing/2014/main" id="{B08F9AAB-1F70-4F84-88A5-AD6F82902597}"/>
              </a:ext>
            </a:extLst>
          </p:cNvPr>
          <p:cNvSpPr>
            <a:spLocks noGrp="1"/>
          </p:cNvSpPr>
          <p:nvPr>
            <p:ph type="subTitle" idx="1"/>
          </p:nvPr>
        </p:nvSpPr>
        <p:spPr/>
        <p:txBody>
          <a:bodyPr>
            <a:normAutofit/>
          </a:bodyPr>
          <a:lstStyle/>
          <a:p>
            <a:r>
              <a:rPr lang="en-US" sz="2500" dirty="0">
                <a:solidFill>
                  <a:schemeClr val="bg1"/>
                </a:solidFill>
              </a:rPr>
              <a:t>clausse.gilles@gmail.com</a:t>
            </a:r>
            <a:endParaRPr lang="en-GB" sz="2500" dirty="0">
              <a:solidFill>
                <a:schemeClr val="bg1"/>
              </a:solidFill>
            </a:endParaRPr>
          </a:p>
        </p:txBody>
      </p:sp>
    </p:spTree>
    <p:extLst>
      <p:ext uri="{BB962C8B-B14F-4D97-AF65-F5344CB8AC3E}">
        <p14:creationId xmlns:p14="http://schemas.microsoft.com/office/powerpoint/2010/main" val="35981983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013B6-2BCC-472E-A78D-785CA3A7E4B5}"/>
              </a:ext>
            </a:extLst>
          </p:cNvPr>
          <p:cNvGraphicFramePr>
            <a:graphicFrameLocks noChangeAspect="1"/>
          </p:cNvGraphicFramePr>
          <p:nvPr>
            <p:custDataLst>
              <p:tags r:id="rId2"/>
            </p:custDataLst>
            <p:extLst>
              <p:ext uri="{D42A27DB-BD31-4B8C-83A1-F6EECF244321}">
                <p14:modId xmlns:p14="http://schemas.microsoft.com/office/powerpoint/2010/main" val="1735852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B3D013B6-2BCC-472E-A78D-785CA3A7E4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3421D35-B2B6-4C8C-B4DD-241ACC51CB4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b="1"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3FF0F3B8-4364-429E-A376-9A30880873B0}"/>
              </a:ext>
            </a:extLst>
          </p:cNvPr>
          <p:cNvSpPr>
            <a:spLocks noGrp="1"/>
          </p:cNvSpPr>
          <p:nvPr>
            <p:ph type="title"/>
          </p:nvPr>
        </p:nvSpPr>
        <p:spPr>
          <a:xfrm>
            <a:off x="1154954" y="973668"/>
            <a:ext cx="9614646" cy="706964"/>
          </a:xfrm>
        </p:spPr>
        <p:txBody>
          <a:bodyPr/>
          <a:lstStyle/>
          <a:p>
            <a:r>
              <a:rPr lang="en-US" b="1" dirty="0"/>
              <a:t>Methodology: Linear regression</a:t>
            </a:r>
            <a:endParaRPr lang="en-GB" b="1" dirty="0"/>
          </a:p>
        </p:txBody>
      </p:sp>
      <p:sp>
        <p:nvSpPr>
          <p:cNvPr id="3" name="Content Placeholder 2">
            <a:extLst>
              <a:ext uri="{FF2B5EF4-FFF2-40B4-BE49-F238E27FC236}">
                <a16:creationId xmlns:a16="http://schemas.microsoft.com/office/drawing/2014/main" id="{C258CF02-664C-4E4E-8D7C-51AC8F67602F}"/>
              </a:ext>
            </a:extLst>
          </p:cNvPr>
          <p:cNvSpPr>
            <a:spLocks noGrp="1"/>
          </p:cNvSpPr>
          <p:nvPr>
            <p:ph idx="1"/>
          </p:nvPr>
        </p:nvSpPr>
        <p:spPr>
          <a:xfrm>
            <a:off x="667658" y="2371268"/>
            <a:ext cx="10963835" cy="4450444"/>
          </a:xfrm>
        </p:spPr>
        <p:txBody>
          <a:bodyPr>
            <a:normAutofit/>
          </a:bodyPr>
          <a:lstStyle/>
          <a:p>
            <a:r>
              <a:rPr lang="en-US" dirty="0"/>
              <a:t>Linear Regression was chosen because it is a simple technique. And by using </a:t>
            </a:r>
            <a:r>
              <a:rPr lang="en-US" dirty="0" err="1"/>
              <a:t>Sklearn</a:t>
            </a:r>
            <a:r>
              <a:rPr lang="en-US" dirty="0"/>
              <a:t> library, implementing the model is quick and easy. Which is perfect to start the analyzing process.</a:t>
            </a:r>
            <a:endParaRPr lang="en-GB" dirty="0"/>
          </a:p>
          <a:p>
            <a:r>
              <a:rPr lang="en-US" dirty="0"/>
              <a:t>The model will contain a list of coefficients corresponding to venue types. R2 score (or Coefficient of determination) and Mean Squared Error (MSE) will be used to see how well the model fit the data.</a:t>
            </a:r>
            <a:endParaRPr lang="en-GB" dirty="0"/>
          </a:p>
          <a:p>
            <a:r>
              <a:rPr lang="en-US" dirty="0"/>
              <a:t>The result (Figure 3) doesn’t seem very promising. R2 score is small, which means the model may not be suitable for the data. </a:t>
            </a:r>
            <a:endParaRPr lang="en-GB" dirty="0"/>
          </a:p>
        </p:txBody>
      </p:sp>
      <p:sp>
        <p:nvSpPr>
          <p:cNvPr id="6" name="Rectangle 2">
            <a:extLst>
              <a:ext uri="{FF2B5EF4-FFF2-40B4-BE49-F238E27FC236}">
                <a16:creationId xmlns:a16="http://schemas.microsoft.com/office/drawing/2014/main" id="{3CED5C70-227C-47C5-BB26-477E7D9A9236}"/>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pic>
        <p:nvPicPr>
          <p:cNvPr id="7" name="Picture 6">
            <a:extLst>
              <a:ext uri="{FF2B5EF4-FFF2-40B4-BE49-F238E27FC236}">
                <a16:creationId xmlns:a16="http://schemas.microsoft.com/office/drawing/2014/main" id="{C76411E2-0CB9-47A0-9C6C-75820331C1B1}"/>
              </a:ext>
            </a:extLst>
          </p:cNvPr>
          <p:cNvPicPr/>
          <p:nvPr/>
        </p:nvPicPr>
        <p:blipFill>
          <a:blip r:embed="rId7"/>
          <a:stretch>
            <a:fillRect/>
          </a:stretch>
        </p:blipFill>
        <p:spPr>
          <a:xfrm>
            <a:off x="2815771" y="4614635"/>
            <a:ext cx="7431315" cy="1865630"/>
          </a:xfrm>
          <a:prstGeom prst="rect">
            <a:avLst/>
          </a:prstGeom>
        </p:spPr>
      </p:pic>
      <p:sp>
        <p:nvSpPr>
          <p:cNvPr id="8" name="Rectangle 7">
            <a:extLst>
              <a:ext uri="{FF2B5EF4-FFF2-40B4-BE49-F238E27FC236}">
                <a16:creationId xmlns:a16="http://schemas.microsoft.com/office/drawing/2014/main" id="{B8B55BF0-1726-4CEB-A7E8-FDAFB7C690C0}"/>
              </a:ext>
            </a:extLst>
          </p:cNvPr>
          <p:cNvSpPr/>
          <p:nvPr/>
        </p:nvSpPr>
        <p:spPr>
          <a:xfrm>
            <a:off x="4677483" y="6408838"/>
            <a:ext cx="2938625" cy="307777"/>
          </a:xfrm>
          <a:prstGeom prst="rect">
            <a:avLst/>
          </a:prstGeom>
        </p:spPr>
        <p:txBody>
          <a:bodyPr wrap="none">
            <a:spAutoFit/>
          </a:bodyPr>
          <a:lstStyle/>
          <a:p>
            <a:r>
              <a:rPr lang="en-US" sz="1400" dirty="0">
                <a:latin typeface="Arial" panose="020B0604020202020204" pitchFamily="34" charset="0"/>
                <a:ea typeface="Calibri" panose="020F0502020204030204" pitchFamily="34" charset="0"/>
              </a:rPr>
              <a:t>Figure 3 - Linear Regression result</a:t>
            </a:r>
            <a:endParaRPr lang="en-GB" sz="1400" dirty="0"/>
          </a:p>
        </p:txBody>
      </p:sp>
    </p:spTree>
    <p:extLst>
      <p:ext uri="{BB962C8B-B14F-4D97-AF65-F5344CB8AC3E}">
        <p14:creationId xmlns:p14="http://schemas.microsoft.com/office/powerpoint/2010/main" val="27845783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013B6-2BCC-472E-A78D-785CA3A7E4B5}"/>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B3D013B6-2BCC-472E-A78D-785CA3A7E4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3421D35-B2B6-4C8C-B4DD-241ACC51CB4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b="1"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3FF0F3B8-4364-429E-A376-9A30880873B0}"/>
              </a:ext>
            </a:extLst>
          </p:cNvPr>
          <p:cNvSpPr>
            <a:spLocks noGrp="1"/>
          </p:cNvSpPr>
          <p:nvPr>
            <p:ph type="title"/>
          </p:nvPr>
        </p:nvSpPr>
        <p:spPr>
          <a:xfrm>
            <a:off x="1154954" y="973668"/>
            <a:ext cx="9614646" cy="706964"/>
          </a:xfrm>
        </p:spPr>
        <p:txBody>
          <a:bodyPr/>
          <a:lstStyle/>
          <a:p>
            <a:r>
              <a:rPr lang="en-US" b="1" dirty="0"/>
              <a:t>Methodology: Linear regression</a:t>
            </a:r>
            <a:endParaRPr lang="en-GB" b="1" dirty="0"/>
          </a:p>
        </p:txBody>
      </p:sp>
      <p:sp>
        <p:nvSpPr>
          <p:cNvPr id="3" name="Content Placeholder 2">
            <a:extLst>
              <a:ext uri="{FF2B5EF4-FFF2-40B4-BE49-F238E27FC236}">
                <a16:creationId xmlns:a16="http://schemas.microsoft.com/office/drawing/2014/main" id="{C258CF02-664C-4E4E-8D7C-51AC8F67602F}"/>
              </a:ext>
            </a:extLst>
          </p:cNvPr>
          <p:cNvSpPr>
            <a:spLocks noGrp="1"/>
          </p:cNvSpPr>
          <p:nvPr>
            <p:ph idx="1"/>
          </p:nvPr>
        </p:nvSpPr>
        <p:spPr>
          <a:xfrm>
            <a:off x="667658" y="2371268"/>
            <a:ext cx="10963835" cy="4450444"/>
          </a:xfrm>
        </p:spPr>
        <p:txBody>
          <a:bodyPr>
            <a:normAutofit/>
          </a:bodyPr>
          <a:lstStyle/>
          <a:p>
            <a:r>
              <a:rPr lang="en-US" dirty="0"/>
              <a:t>But on the bright side, the coefficient list shows some interest and logical information:</a:t>
            </a:r>
            <a:endParaRPr lang="en-GB" dirty="0"/>
          </a:p>
          <a:p>
            <a:pPr lvl="0"/>
            <a:r>
              <a:rPr lang="en-US" dirty="0"/>
              <a:t>“Studios” and “Eateries” both mean businesses. “Train Station” means ease of transportation. All of which usually increase the value of a location.</a:t>
            </a:r>
            <a:endParaRPr lang="en-GB" dirty="0"/>
          </a:p>
          <a:p>
            <a:pPr lvl="0"/>
            <a:r>
              <a:rPr lang="en-US" dirty="0"/>
              <a:t>“Bar” and “Market” sure are nice to visit sometimes but may not be a suitable neighborhood for family with kids. “Lighthouse” and “Golf” usually located in the rural areas. The demand for such locations is usually low.</a:t>
            </a:r>
            <a:endParaRPr lang="en-GB" dirty="0"/>
          </a:p>
          <a:p>
            <a:pPr lvl="0"/>
            <a:r>
              <a:rPr lang="en-US" dirty="0"/>
              <a:t>“TV station”, “Cemetery”, “Laser Tag”, “Mini Golf” all give value to a limited range of people. “Gas Station” is available everywhere. These types of venue usually are not </a:t>
            </a:r>
            <a:r>
              <a:rPr lang="en-US" dirty="0" err="1"/>
              <a:t>dicision</a:t>
            </a:r>
            <a:r>
              <a:rPr lang="en-US" dirty="0"/>
              <a:t> factor when considering a location.</a:t>
            </a:r>
            <a:endParaRPr lang="en-GB" dirty="0"/>
          </a:p>
        </p:txBody>
      </p:sp>
      <p:sp>
        <p:nvSpPr>
          <p:cNvPr id="6" name="Rectangle 2">
            <a:extLst>
              <a:ext uri="{FF2B5EF4-FFF2-40B4-BE49-F238E27FC236}">
                <a16:creationId xmlns:a16="http://schemas.microsoft.com/office/drawing/2014/main" id="{3CED5C70-227C-47C5-BB26-477E7D9A9236}"/>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spTree>
    <p:extLst>
      <p:ext uri="{BB962C8B-B14F-4D97-AF65-F5344CB8AC3E}">
        <p14:creationId xmlns:p14="http://schemas.microsoft.com/office/powerpoint/2010/main" val="10933903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013B6-2BCC-472E-A78D-785CA3A7E4B5}"/>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B3D013B6-2BCC-472E-A78D-785CA3A7E4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3421D35-B2B6-4C8C-B4DD-241ACC51CB4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b="1"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3FF0F3B8-4364-429E-A376-9A30880873B0}"/>
              </a:ext>
            </a:extLst>
          </p:cNvPr>
          <p:cNvSpPr>
            <a:spLocks noGrp="1"/>
          </p:cNvSpPr>
          <p:nvPr>
            <p:ph type="title"/>
          </p:nvPr>
        </p:nvSpPr>
        <p:spPr>
          <a:xfrm>
            <a:off x="1154954" y="973668"/>
            <a:ext cx="9614646" cy="706964"/>
          </a:xfrm>
        </p:spPr>
        <p:txBody>
          <a:bodyPr/>
          <a:lstStyle/>
          <a:p>
            <a:r>
              <a:rPr lang="en-US" b="1" dirty="0"/>
              <a:t>Methodology: Linear regression</a:t>
            </a:r>
            <a:endParaRPr lang="en-GB" b="1" dirty="0"/>
          </a:p>
        </p:txBody>
      </p:sp>
      <p:sp>
        <p:nvSpPr>
          <p:cNvPr id="3" name="Content Placeholder 2">
            <a:extLst>
              <a:ext uri="{FF2B5EF4-FFF2-40B4-BE49-F238E27FC236}">
                <a16:creationId xmlns:a16="http://schemas.microsoft.com/office/drawing/2014/main" id="{C258CF02-664C-4E4E-8D7C-51AC8F67602F}"/>
              </a:ext>
            </a:extLst>
          </p:cNvPr>
          <p:cNvSpPr>
            <a:spLocks noGrp="1"/>
          </p:cNvSpPr>
          <p:nvPr>
            <p:ph idx="1"/>
          </p:nvPr>
        </p:nvSpPr>
        <p:spPr>
          <a:xfrm>
            <a:off x="667658" y="2371268"/>
            <a:ext cx="10963835" cy="4450444"/>
          </a:xfrm>
        </p:spPr>
        <p:txBody>
          <a:bodyPr>
            <a:normAutofit/>
          </a:bodyPr>
          <a:lstStyle/>
          <a:p>
            <a:r>
              <a:rPr lang="en-US" dirty="0"/>
              <a:t>Back to the model, what seems to be the problem? And what are the possible solutions?</a:t>
            </a:r>
            <a:endParaRPr lang="en-GB" dirty="0"/>
          </a:p>
          <a:p>
            <a:r>
              <a:rPr lang="en-US" dirty="0"/>
              <a:t>Looking back further to the dataset, its dimensions sizes is clearly unbalanced, only 50 samples, and more than 300 features. Logical steps to take are either collecting more samples or trying to reduce the number of features.</a:t>
            </a:r>
            <a:endParaRPr lang="en-GB" dirty="0"/>
          </a:p>
          <a:p>
            <a:r>
              <a:rPr lang="en-US" dirty="0"/>
              <a:t>But since there are no other public source available, increasing sample size is not possible at the moment. So, deceasing features is the only option for now.</a:t>
            </a:r>
            <a:endParaRPr lang="en-GB" dirty="0"/>
          </a:p>
          <a:p>
            <a:r>
              <a:rPr lang="en-US" dirty="0"/>
              <a:t>And that’s why </a:t>
            </a:r>
            <a:r>
              <a:rPr lang="en-US" b="1" dirty="0"/>
              <a:t>Principal Component Regression </a:t>
            </a:r>
            <a:r>
              <a:rPr lang="en-US" dirty="0"/>
              <a:t>is chosen to analyze the dataset in the next part.</a:t>
            </a:r>
            <a:endParaRPr lang="en-GB" dirty="0"/>
          </a:p>
        </p:txBody>
      </p:sp>
      <p:sp>
        <p:nvSpPr>
          <p:cNvPr id="6" name="Rectangle 2">
            <a:extLst>
              <a:ext uri="{FF2B5EF4-FFF2-40B4-BE49-F238E27FC236}">
                <a16:creationId xmlns:a16="http://schemas.microsoft.com/office/drawing/2014/main" id="{3CED5C70-227C-47C5-BB26-477E7D9A9236}"/>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spTree>
    <p:extLst>
      <p:ext uri="{BB962C8B-B14F-4D97-AF65-F5344CB8AC3E}">
        <p14:creationId xmlns:p14="http://schemas.microsoft.com/office/powerpoint/2010/main" val="33433595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013B6-2BCC-472E-A78D-785CA3A7E4B5}"/>
              </a:ext>
            </a:extLst>
          </p:cNvPr>
          <p:cNvGraphicFramePr>
            <a:graphicFrameLocks noChangeAspect="1"/>
          </p:cNvGraphicFramePr>
          <p:nvPr>
            <p:custDataLst>
              <p:tags r:id="rId2"/>
            </p:custDataLst>
            <p:extLst>
              <p:ext uri="{D42A27DB-BD31-4B8C-83A1-F6EECF244321}">
                <p14:modId xmlns:p14="http://schemas.microsoft.com/office/powerpoint/2010/main" val="1848274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B3D013B6-2BCC-472E-A78D-785CA3A7E4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3421D35-B2B6-4C8C-B4DD-241ACC51CB4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b="1"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3FF0F3B8-4364-429E-A376-9A30880873B0}"/>
              </a:ext>
            </a:extLst>
          </p:cNvPr>
          <p:cNvSpPr>
            <a:spLocks noGrp="1"/>
          </p:cNvSpPr>
          <p:nvPr>
            <p:ph type="title"/>
          </p:nvPr>
        </p:nvSpPr>
        <p:spPr>
          <a:xfrm>
            <a:off x="827315" y="922006"/>
            <a:ext cx="10253275" cy="706964"/>
          </a:xfrm>
        </p:spPr>
        <p:txBody>
          <a:bodyPr/>
          <a:lstStyle/>
          <a:p>
            <a:r>
              <a:rPr lang="en-US" b="1" dirty="0"/>
              <a:t>Methodology: Principal Component Regression (PCR)</a:t>
            </a:r>
            <a:endParaRPr lang="en-GB" b="1" dirty="0"/>
          </a:p>
        </p:txBody>
      </p:sp>
      <p:sp>
        <p:nvSpPr>
          <p:cNvPr id="3" name="Content Placeholder 2">
            <a:extLst>
              <a:ext uri="{FF2B5EF4-FFF2-40B4-BE49-F238E27FC236}">
                <a16:creationId xmlns:a16="http://schemas.microsoft.com/office/drawing/2014/main" id="{C258CF02-664C-4E4E-8D7C-51AC8F67602F}"/>
              </a:ext>
            </a:extLst>
          </p:cNvPr>
          <p:cNvSpPr>
            <a:spLocks noGrp="1"/>
          </p:cNvSpPr>
          <p:nvPr>
            <p:ph idx="1"/>
          </p:nvPr>
        </p:nvSpPr>
        <p:spPr>
          <a:xfrm>
            <a:off x="667658" y="2371268"/>
            <a:ext cx="10963835" cy="4450444"/>
          </a:xfrm>
        </p:spPr>
        <p:txBody>
          <a:bodyPr>
            <a:normAutofit/>
          </a:bodyPr>
          <a:lstStyle/>
          <a:p>
            <a:r>
              <a:rPr lang="en-US" dirty="0"/>
              <a:t>PCR can be explained simply as the combination of Principal Component Analysis (PCA) with Linear Regression. (Wikipedia, n.d.)</a:t>
            </a:r>
            <a:endParaRPr lang="en-GB" dirty="0"/>
          </a:p>
          <a:p>
            <a:r>
              <a:rPr lang="en-US" dirty="0"/>
              <a:t>PCR employs the power of PCA, which can convert a set of values of possibly correlated variables into a set of values of linearly uncorrelated variables called principal components. As the result, the number of features is reduced while keeping most of the characteristic of the dataset.</a:t>
            </a:r>
            <a:endParaRPr lang="en-GB" dirty="0"/>
          </a:p>
          <a:p>
            <a:r>
              <a:rPr lang="en-US" dirty="0"/>
              <a:t>Then PCR uses Linear Regression on the converted set to return a coefficient list, just like in normal Regression techniques.</a:t>
            </a:r>
            <a:endParaRPr lang="en-GB" dirty="0"/>
          </a:p>
          <a:p>
            <a:r>
              <a:rPr lang="en-US" dirty="0"/>
              <a:t>Again, R2 score and MSE are used to see how well the model fit the dataset:</a:t>
            </a:r>
          </a:p>
          <a:p>
            <a:endParaRPr lang="en-US" dirty="0"/>
          </a:p>
          <a:p>
            <a:endParaRPr lang="en-US" dirty="0"/>
          </a:p>
          <a:p>
            <a:r>
              <a:rPr lang="en-US" dirty="0"/>
              <a:t>The result is promising as it shows improvement over the simple Linear Regression.</a:t>
            </a:r>
            <a:endParaRPr lang="en-GB" dirty="0"/>
          </a:p>
          <a:p>
            <a:pPr marL="0" indent="0">
              <a:buNone/>
            </a:pPr>
            <a:endParaRPr lang="en-US" dirty="0"/>
          </a:p>
        </p:txBody>
      </p:sp>
      <p:sp>
        <p:nvSpPr>
          <p:cNvPr id="6" name="Rectangle 2">
            <a:extLst>
              <a:ext uri="{FF2B5EF4-FFF2-40B4-BE49-F238E27FC236}">
                <a16:creationId xmlns:a16="http://schemas.microsoft.com/office/drawing/2014/main" id="{3CED5C70-227C-47C5-BB26-477E7D9A9236}"/>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sp>
        <p:nvSpPr>
          <p:cNvPr id="9" name="Rectangle 5">
            <a:extLst>
              <a:ext uri="{FF2B5EF4-FFF2-40B4-BE49-F238E27FC236}">
                <a16:creationId xmlns:a16="http://schemas.microsoft.com/office/drawing/2014/main" id="{5C88AF8A-5A09-4245-99C2-16B12BA542B6}"/>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pic>
        <p:nvPicPr>
          <p:cNvPr id="8196" name="Picture 4">
            <a:extLst>
              <a:ext uri="{FF2B5EF4-FFF2-40B4-BE49-F238E27FC236}">
                <a16:creationId xmlns:a16="http://schemas.microsoft.com/office/drawing/2014/main" id="{1C3FCAFF-6A99-4C13-8E35-CCD239FC494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867275" y="5340046"/>
            <a:ext cx="2457450" cy="508000"/>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40AB5AC0-21A2-4A51-A4FE-802F362FCD28}"/>
              </a:ext>
            </a:extLst>
          </p:cNvPr>
          <p:cNvSpPr/>
          <p:nvPr/>
        </p:nvSpPr>
        <p:spPr>
          <a:xfrm>
            <a:off x="5171583" y="5859930"/>
            <a:ext cx="1955984" cy="307777"/>
          </a:xfrm>
          <a:prstGeom prst="rect">
            <a:avLst/>
          </a:prstGeom>
        </p:spPr>
        <p:txBody>
          <a:bodyPr wrap="none">
            <a:spAutoFit/>
          </a:bodyPr>
          <a:lstStyle/>
          <a:p>
            <a:pPr algn="ctr">
              <a:spcAft>
                <a:spcPts val="1000"/>
              </a:spcAft>
            </a:pPr>
            <a:r>
              <a:rPr lang="en-US" sz="1400" i="1" dirty="0">
                <a:solidFill>
                  <a:srgbClr val="44546A"/>
                </a:solidFill>
                <a:latin typeface="Arial" panose="020B0604020202020204" pitchFamily="34" charset="0"/>
                <a:ea typeface="Calibri" panose="020F0502020204030204" pitchFamily="34" charset="0"/>
                <a:cs typeface="Times New Roman" panose="02020603050405020304" pitchFamily="18" charset="0"/>
              </a:rPr>
              <a:t>Figure 4 - PCR scores</a:t>
            </a:r>
            <a:endParaRPr lang="en-GB" sz="1400" i="1" dirty="0">
              <a:solidFill>
                <a:srgbClr val="44546A"/>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7377832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013B6-2BCC-472E-A78D-785CA3A7E4B5}"/>
              </a:ext>
            </a:extLst>
          </p:cNvPr>
          <p:cNvGraphicFramePr>
            <a:graphicFrameLocks noChangeAspect="1"/>
          </p:cNvGraphicFramePr>
          <p:nvPr>
            <p:custDataLst>
              <p:tags r:id="rId2"/>
            </p:custDataLst>
            <p:extLst>
              <p:ext uri="{D42A27DB-BD31-4B8C-83A1-F6EECF244321}">
                <p14:modId xmlns:p14="http://schemas.microsoft.com/office/powerpoint/2010/main" val="4266061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B3D013B6-2BCC-472E-A78D-785CA3A7E4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3421D35-B2B6-4C8C-B4DD-241ACC51CB4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b="1"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3FF0F3B8-4364-429E-A376-9A30880873B0}"/>
              </a:ext>
            </a:extLst>
          </p:cNvPr>
          <p:cNvSpPr>
            <a:spLocks noGrp="1"/>
          </p:cNvSpPr>
          <p:nvPr>
            <p:ph type="title"/>
          </p:nvPr>
        </p:nvSpPr>
        <p:spPr>
          <a:xfrm>
            <a:off x="1022937" y="878112"/>
            <a:ext cx="10253275" cy="706964"/>
          </a:xfrm>
        </p:spPr>
        <p:txBody>
          <a:bodyPr/>
          <a:lstStyle/>
          <a:p>
            <a:r>
              <a:rPr lang="en-US" b="1" dirty="0"/>
              <a:t>Methodology: Principal Component Regression (PCR)</a:t>
            </a:r>
            <a:endParaRPr lang="en-GB" b="1" dirty="0"/>
          </a:p>
        </p:txBody>
      </p:sp>
      <p:sp>
        <p:nvSpPr>
          <p:cNvPr id="3" name="Content Placeholder 2">
            <a:extLst>
              <a:ext uri="{FF2B5EF4-FFF2-40B4-BE49-F238E27FC236}">
                <a16:creationId xmlns:a16="http://schemas.microsoft.com/office/drawing/2014/main" id="{C258CF02-664C-4E4E-8D7C-51AC8F67602F}"/>
              </a:ext>
            </a:extLst>
          </p:cNvPr>
          <p:cNvSpPr>
            <a:spLocks noGrp="1"/>
          </p:cNvSpPr>
          <p:nvPr>
            <p:ph idx="1"/>
          </p:nvPr>
        </p:nvSpPr>
        <p:spPr>
          <a:xfrm>
            <a:off x="667658" y="2371268"/>
            <a:ext cx="10963835" cy="4450444"/>
          </a:xfrm>
        </p:spPr>
        <p:txBody>
          <a:bodyPr>
            <a:normAutofit/>
          </a:bodyPr>
          <a:lstStyle/>
          <a:p>
            <a:r>
              <a:rPr lang="en-US" dirty="0"/>
              <a:t>The result is promising as it shows improvement over the simple Linear Regression.</a:t>
            </a:r>
            <a:endParaRPr lang="en-GB" dirty="0"/>
          </a:p>
          <a:p>
            <a:r>
              <a:rPr lang="en-US" dirty="0"/>
              <a:t>As for the coefficient list, the size has been reduced after performing PCA. So, a dot product with eigenvectors is needed to get it back to the original features size.</a:t>
            </a:r>
          </a:p>
          <a:p>
            <a:endParaRPr lang="en-US" dirty="0"/>
          </a:p>
          <a:p>
            <a:endParaRPr lang="en-US" dirty="0"/>
          </a:p>
          <a:p>
            <a:endParaRPr lang="en-US" dirty="0"/>
          </a:p>
          <a:p>
            <a:endParaRPr lang="en-US" dirty="0"/>
          </a:p>
          <a:p>
            <a:endParaRPr lang="en-US" dirty="0"/>
          </a:p>
          <a:p>
            <a:endParaRPr lang="en-US" dirty="0"/>
          </a:p>
          <a:p>
            <a:endParaRPr lang="en-US" dirty="0"/>
          </a:p>
          <a:p>
            <a:r>
              <a:rPr lang="en-US" dirty="0"/>
              <a:t>The insight is still consistent compared to the Linear Regression’s.</a:t>
            </a:r>
            <a:endParaRPr lang="en-GB" dirty="0"/>
          </a:p>
          <a:p>
            <a:pPr marL="0" indent="0">
              <a:buNone/>
            </a:pPr>
            <a:endParaRPr lang="en-GB" dirty="0"/>
          </a:p>
        </p:txBody>
      </p:sp>
      <p:sp>
        <p:nvSpPr>
          <p:cNvPr id="6" name="Rectangle 2">
            <a:extLst>
              <a:ext uri="{FF2B5EF4-FFF2-40B4-BE49-F238E27FC236}">
                <a16:creationId xmlns:a16="http://schemas.microsoft.com/office/drawing/2014/main" id="{3CED5C70-227C-47C5-BB26-477E7D9A9236}"/>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sp>
        <p:nvSpPr>
          <p:cNvPr id="9" name="Rectangle 5">
            <a:extLst>
              <a:ext uri="{FF2B5EF4-FFF2-40B4-BE49-F238E27FC236}">
                <a16:creationId xmlns:a16="http://schemas.microsoft.com/office/drawing/2014/main" id="{5C88AF8A-5A09-4245-99C2-16B12BA542B6}"/>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pic>
        <p:nvPicPr>
          <p:cNvPr id="11" name="Picture 10">
            <a:extLst>
              <a:ext uri="{FF2B5EF4-FFF2-40B4-BE49-F238E27FC236}">
                <a16:creationId xmlns:a16="http://schemas.microsoft.com/office/drawing/2014/main" id="{4802BF49-3DFC-462F-AB6F-B466E9914E6B}"/>
              </a:ext>
            </a:extLst>
          </p:cNvPr>
          <p:cNvPicPr/>
          <p:nvPr/>
        </p:nvPicPr>
        <p:blipFill>
          <a:blip r:embed="rId7"/>
          <a:stretch>
            <a:fillRect/>
          </a:stretch>
        </p:blipFill>
        <p:spPr>
          <a:xfrm>
            <a:off x="3182257" y="3429000"/>
            <a:ext cx="6890658" cy="2583543"/>
          </a:xfrm>
          <a:prstGeom prst="rect">
            <a:avLst/>
          </a:prstGeom>
        </p:spPr>
      </p:pic>
      <p:sp>
        <p:nvSpPr>
          <p:cNvPr id="7" name="Rectangle 6">
            <a:extLst>
              <a:ext uri="{FF2B5EF4-FFF2-40B4-BE49-F238E27FC236}">
                <a16:creationId xmlns:a16="http://schemas.microsoft.com/office/drawing/2014/main" id="{D8E99290-63B9-4B0D-BF60-CE27E5C24F26}"/>
              </a:ext>
            </a:extLst>
          </p:cNvPr>
          <p:cNvSpPr/>
          <p:nvPr/>
        </p:nvSpPr>
        <p:spPr>
          <a:xfrm>
            <a:off x="4674950" y="5962068"/>
            <a:ext cx="3299300" cy="307777"/>
          </a:xfrm>
          <a:prstGeom prst="rect">
            <a:avLst/>
          </a:prstGeom>
        </p:spPr>
        <p:txBody>
          <a:bodyPr wrap="none">
            <a:spAutoFit/>
          </a:bodyPr>
          <a:lstStyle/>
          <a:p>
            <a:pPr algn="ctr">
              <a:spcAft>
                <a:spcPts val="1000"/>
              </a:spcAft>
            </a:pPr>
            <a:r>
              <a:rPr lang="en-US" sz="1400" i="1" dirty="0">
                <a:solidFill>
                  <a:srgbClr val="44546A"/>
                </a:solidFill>
                <a:latin typeface="Arial" panose="020B0604020202020204" pitchFamily="34" charset="0"/>
                <a:ea typeface="Calibri" panose="020F0502020204030204" pitchFamily="34" charset="0"/>
                <a:cs typeface="Times New Roman" panose="02020603050405020304" pitchFamily="18" charset="0"/>
              </a:rPr>
              <a:t>Figure 5 - Coefficient list in original size</a:t>
            </a:r>
            <a:endParaRPr lang="en-GB" sz="1400" i="1" dirty="0">
              <a:solidFill>
                <a:srgbClr val="44546A"/>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9536390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013B6-2BCC-472E-A78D-785CA3A7E4B5}"/>
              </a:ext>
            </a:extLst>
          </p:cNvPr>
          <p:cNvGraphicFramePr>
            <a:graphicFrameLocks noChangeAspect="1"/>
          </p:cNvGraphicFramePr>
          <p:nvPr>
            <p:custDataLst>
              <p:tags r:id="rId2"/>
            </p:custDataLst>
            <p:extLst>
              <p:ext uri="{D42A27DB-BD31-4B8C-83A1-F6EECF244321}">
                <p14:modId xmlns:p14="http://schemas.microsoft.com/office/powerpoint/2010/main" val="2002445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B3D013B6-2BCC-472E-A78D-785CA3A7E4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3421D35-B2B6-4C8C-B4DD-241ACC51CB4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b="1"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3FF0F3B8-4364-429E-A376-9A30880873B0}"/>
              </a:ext>
            </a:extLst>
          </p:cNvPr>
          <p:cNvSpPr>
            <a:spLocks noGrp="1"/>
          </p:cNvSpPr>
          <p:nvPr>
            <p:ph type="title"/>
          </p:nvPr>
        </p:nvSpPr>
        <p:spPr>
          <a:xfrm>
            <a:off x="969362" y="807968"/>
            <a:ext cx="10253275" cy="706964"/>
          </a:xfrm>
        </p:spPr>
        <p:txBody>
          <a:bodyPr/>
          <a:lstStyle/>
          <a:p>
            <a:r>
              <a:rPr lang="en-US" b="1" dirty="0"/>
              <a:t>Results</a:t>
            </a:r>
            <a:endParaRPr lang="en-GB" b="1" dirty="0"/>
          </a:p>
        </p:txBody>
      </p:sp>
      <p:sp>
        <p:nvSpPr>
          <p:cNvPr id="3" name="Content Placeholder 2">
            <a:extLst>
              <a:ext uri="{FF2B5EF4-FFF2-40B4-BE49-F238E27FC236}">
                <a16:creationId xmlns:a16="http://schemas.microsoft.com/office/drawing/2014/main" id="{C258CF02-664C-4E4E-8D7C-51AC8F67602F}"/>
              </a:ext>
            </a:extLst>
          </p:cNvPr>
          <p:cNvSpPr>
            <a:spLocks noGrp="1"/>
          </p:cNvSpPr>
          <p:nvPr>
            <p:ph idx="1"/>
          </p:nvPr>
        </p:nvSpPr>
        <p:spPr>
          <a:xfrm>
            <a:off x="667658" y="2371268"/>
            <a:ext cx="10963835" cy="4450444"/>
          </a:xfrm>
        </p:spPr>
        <p:txBody>
          <a:bodyPr>
            <a:normAutofit/>
          </a:bodyPr>
          <a:lstStyle/>
          <a:p>
            <a:r>
              <a:rPr lang="en-US" dirty="0"/>
              <a:t>Even though the scores seem to be improved after applying a more sophisticate method, the model is still not suitable for the dataset. Thus, it can’t be used to precisely predict a neighborhood average price.</a:t>
            </a:r>
            <a:endParaRPr lang="en-GB" dirty="0"/>
          </a:p>
          <a:p>
            <a:r>
              <a:rPr lang="en-US" dirty="0"/>
              <a:t>Explanations for the poor model can be:</a:t>
            </a:r>
            <a:endParaRPr lang="en-GB" dirty="0"/>
          </a:p>
          <a:p>
            <a:pPr lvl="1"/>
            <a:r>
              <a:rPr lang="en-US" dirty="0"/>
              <a:t>The real estate price is hard to predict. </a:t>
            </a:r>
            <a:endParaRPr lang="en-GB" dirty="0"/>
          </a:p>
          <a:p>
            <a:pPr lvl="1"/>
            <a:r>
              <a:rPr lang="en-US" dirty="0"/>
              <a:t>The data is incomplete (small sample size, missing deciding factors).</a:t>
            </a:r>
            <a:endParaRPr lang="en-GB" dirty="0"/>
          </a:p>
          <a:p>
            <a:pPr lvl="1"/>
            <a:r>
              <a:rPr lang="en-US" dirty="0"/>
              <a:t>The machine learning techniques are chosen or applied poorly.</a:t>
            </a:r>
            <a:endParaRPr lang="en-GB" dirty="0"/>
          </a:p>
          <a:p>
            <a:r>
              <a:rPr lang="en-US" dirty="0"/>
              <a:t>But again, on the bright side, the insight, gotten from observing the analysis results, seems consistent and logical. And the insight is business venues that can serve the needs of most normal people usually situated in pricy neighborhoods.</a:t>
            </a:r>
            <a:endParaRPr lang="en-GB" dirty="0"/>
          </a:p>
          <a:p>
            <a:pPr marL="0" indent="0">
              <a:buNone/>
            </a:pPr>
            <a:endParaRPr lang="en-US" dirty="0"/>
          </a:p>
          <a:p>
            <a:endParaRPr lang="en-US" dirty="0"/>
          </a:p>
          <a:p>
            <a:endParaRPr lang="en-US" dirty="0"/>
          </a:p>
          <a:p>
            <a:endParaRPr lang="en-US" dirty="0"/>
          </a:p>
          <a:p>
            <a:endParaRPr lang="en-US" dirty="0"/>
          </a:p>
          <a:p>
            <a:pPr marL="0" indent="0">
              <a:buNone/>
            </a:pPr>
            <a:endParaRPr lang="en-GB" dirty="0"/>
          </a:p>
        </p:txBody>
      </p:sp>
      <p:sp>
        <p:nvSpPr>
          <p:cNvPr id="6" name="Rectangle 2">
            <a:extLst>
              <a:ext uri="{FF2B5EF4-FFF2-40B4-BE49-F238E27FC236}">
                <a16:creationId xmlns:a16="http://schemas.microsoft.com/office/drawing/2014/main" id="{3CED5C70-227C-47C5-BB26-477E7D9A9236}"/>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sp>
        <p:nvSpPr>
          <p:cNvPr id="9" name="Rectangle 5">
            <a:extLst>
              <a:ext uri="{FF2B5EF4-FFF2-40B4-BE49-F238E27FC236}">
                <a16:creationId xmlns:a16="http://schemas.microsoft.com/office/drawing/2014/main" id="{5C88AF8A-5A09-4245-99C2-16B12BA542B6}"/>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spTree>
    <p:extLst>
      <p:ext uri="{BB962C8B-B14F-4D97-AF65-F5344CB8AC3E}">
        <p14:creationId xmlns:p14="http://schemas.microsoft.com/office/powerpoint/2010/main" val="30429855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013B6-2BCC-472E-A78D-785CA3A7E4B5}"/>
              </a:ext>
            </a:extLst>
          </p:cNvPr>
          <p:cNvGraphicFramePr>
            <a:graphicFrameLocks noChangeAspect="1"/>
          </p:cNvGraphicFramePr>
          <p:nvPr>
            <p:custDataLst>
              <p:tags r:id="rId2"/>
            </p:custDataLst>
            <p:extLst>
              <p:ext uri="{D42A27DB-BD31-4B8C-83A1-F6EECF244321}">
                <p14:modId xmlns:p14="http://schemas.microsoft.com/office/powerpoint/2010/main" val="37203390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B3D013B6-2BCC-472E-A78D-785CA3A7E4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3421D35-B2B6-4C8C-B4DD-241ACC51CB4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b="1"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3FF0F3B8-4364-429E-A376-9A30880873B0}"/>
              </a:ext>
            </a:extLst>
          </p:cNvPr>
          <p:cNvSpPr>
            <a:spLocks noGrp="1"/>
          </p:cNvSpPr>
          <p:nvPr>
            <p:ph type="title"/>
          </p:nvPr>
        </p:nvSpPr>
        <p:spPr>
          <a:xfrm>
            <a:off x="969362" y="807968"/>
            <a:ext cx="10253275" cy="706964"/>
          </a:xfrm>
        </p:spPr>
        <p:txBody>
          <a:bodyPr/>
          <a:lstStyle/>
          <a:p>
            <a:r>
              <a:rPr lang="en-US" b="1" dirty="0"/>
              <a:t>Discussion</a:t>
            </a:r>
            <a:endParaRPr lang="en-GB" b="1" dirty="0"/>
          </a:p>
        </p:txBody>
      </p:sp>
      <p:sp>
        <p:nvSpPr>
          <p:cNvPr id="3" name="Content Placeholder 2">
            <a:extLst>
              <a:ext uri="{FF2B5EF4-FFF2-40B4-BE49-F238E27FC236}">
                <a16:creationId xmlns:a16="http://schemas.microsoft.com/office/drawing/2014/main" id="{C258CF02-664C-4E4E-8D7C-51AC8F67602F}"/>
              </a:ext>
            </a:extLst>
          </p:cNvPr>
          <p:cNvSpPr>
            <a:spLocks noGrp="1"/>
          </p:cNvSpPr>
          <p:nvPr>
            <p:ph idx="1"/>
          </p:nvPr>
        </p:nvSpPr>
        <p:spPr>
          <a:xfrm>
            <a:off x="667658" y="2371268"/>
            <a:ext cx="10963835" cy="4450444"/>
          </a:xfrm>
        </p:spPr>
        <p:txBody>
          <a:bodyPr>
            <a:normAutofit/>
          </a:bodyPr>
          <a:lstStyle/>
          <a:p>
            <a:r>
              <a:rPr lang="en-US" dirty="0"/>
              <a:t>The real challenge is constructing the dataset:</a:t>
            </a:r>
            <a:endParaRPr lang="en-GB" dirty="0"/>
          </a:p>
          <a:p>
            <a:pPr lvl="1"/>
            <a:r>
              <a:rPr lang="en-US" dirty="0"/>
              <a:t>Usually the needed data isn’t publicly available. </a:t>
            </a:r>
            <a:endParaRPr lang="en-GB" dirty="0"/>
          </a:p>
          <a:p>
            <a:pPr lvl="1"/>
            <a:r>
              <a:rPr lang="en-US" dirty="0"/>
              <a:t>When combining data from multiple sources, inconsistent can happen. And lots of efforts are required to check, research and change the data before merge.</a:t>
            </a:r>
            <a:endParaRPr lang="en-GB" dirty="0"/>
          </a:p>
          <a:p>
            <a:pPr lvl="1"/>
            <a:r>
              <a:rPr lang="en-US" dirty="0"/>
              <a:t>For data obtained through API calls, different results are returned with different set of parameters and different point of time. Multiple trial and error runs are required to get the optimal result.</a:t>
            </a:r>
            <a:endParaRPr lang="en-GB" dirty="0"/>
          </a:p>
          <a:p>
            <a:pPr lvl="1"/>
            <a:r>
              <a:rPr lang="en-US" dirty="0"/>
              <a:t>Even after the dataset has been constructed, lots of research and analysis are required to decide if the data should be kept as is or be transform by normalization or standardization.</a:t>
            </a:r>
            <a:endParaRPr lang="en-GB" dirty="0"/>
          </a:p>
          <a:p>
            <a:r>
              <a:rPr lang="en-US" dirty="0"/>
              <a:t>It can be considered the most important process in the whole data science pipeline. Which can affect the most on the result.</a:t>
            </a:r>
            <a:endParaRPr lang="en-GB" dirty="0"/>
          </a:p>
          <a:p>
            <a:r>
              <a:rPr lang="en-US" dirty="0"/>
              <a:t>On the other hand, choosing the suitable technique to construct the model is also a worthwhile process. As this report shows that, by applying a different method, the result can be improved.</a:t>
            </a:r>
            <a:endParaRPr lang="en-GB" dirty="0"/>
          </a:p>
          <a:p>
            <a:pPr marL="0" indent="0">
              <a:buNone/>
            </a:pPr>
            <a:endParaRPr lang="en-US" dirty="0"/>
          </a:p>
          <a:p>
            <a:endParaRPr lang="en-US" dirty="0"/>
          </a:p>
          <a:p>
            <a:endParaRPr lang="en-US" dirty="0"/>
          </a:p>
          <a:p>
            <a:endParaRPr lang="en-US" dirty="0"/>
          </a:p>
          <a:p>
            <a:endParaRPr lang="en-US" dirty="0"/>
          </a:p>
          <a:p>
            <a:pPr marL="0" indent="0">
              <a:buNone/>
            </a:pPr>
            <a:endParaRPr lang="en-GB" dirty="0"/>
          </a:p>
        </p:txBody>
      </p:sp>
      <p:sp>
        <p:nvSpPr>
          <p:cNvPr id="6" name="Rectangle 2">
            <a:extLst>
              <a:ext uri="{FF2B5EF4-FFF2-40B4-BE49-F238E27FC236}">
                <a16:creationId xmlns:a16="http://schemas.microsoft.com/office/drawing/2014/main" id="{3CED5C70-227C-47C5-BB26-477E7D9A9236}"/>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sp>
        <p:nvSpPr>
          <p:cNvPr id="9" name="Rectangle 5">
            <a:extLst>
              <a:ext uri="{FF2B5EF4-FFF2-40B4-BE49-F238E27FC236}">
                <a16:creationId xmlns:a16="http://schemas.microsoft.com/office/drawing/2014/main" id="{5C88AF8A-5A09-4245-99C2-16B12BA542B6}"/>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spTree>
    <p:extLst>
      <p:ext uri="{BB962C8B-B14F-4D97-AF65-F5344CB8AC3E}">
        <p14:creationId xmlns:p14="http://schemas.microsoft.com/office/powerpoint/2010/main" val="40301387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013B6-2BCC-472E-A78D-785CA3A7E4B5}"/>
              </a:ext>
            </a:extLst>
          </p:cNvPr>
          <p:cNvGraphicFramePr>
            <a:graphicFrameLocks noChangeAspect="1"/>
          </p:cNvGraphicFramePr>
          <p:nvPr>
            <p:custDataLst>
              <p:tags r:id="rId2"/>
            </p:custDataLst>
            <p:extLst>
              <p:ext uri="{D42A27DB-BD31-4B8C-83A1-F6EECF244321}">
                <p14:modId xmlns:p14="http://schemas.microsoft.com/office/powerpoint/2010/main" val="240395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B3D013B6-2BCC-472E-A78D-785CA3A7E4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3421D35-B2B6-4C8C-B4DD-241ACC51CB4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b="1"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3FF0F3B8-4364-429E-A376-9A30880873B0}"/>
              </a:ext>
            </a:extLst>
          </p:cNvPr>
          <p:cNvSpPr>
            <a:spLocks noGrp="1"/>
          </p:cNvSpPr>
          <p:nvPr>
            <p:ph type="title"/>
          </p:nvPr>
        </p:nvSpPr>
        <p:spPr>
          <a:xfrm>
            <a:off x="969362" y="807968"/>
            <a:ext cx="10253275" cy="706964"/>
          </a:xfrm>
        </p:spPr>
        <p:txBody>
          <a:bodyPr/>
          <a:lstStyle/>
          <a:p>
            <a:r>
              <a:rPr lang="en-US" b="1" dirty="0"/>
              <a:t>Conclusion</a:t>
            </a:r>
            <a:endParaRPr lang="en-GB" b="1" dirty="0"/>
          </a:p>
        </p:txBody>
      </p:sp>
      <p:sp>
        <p:nvSpPr>
          <p:cNvPr id="3" name="Content Placeholder 2">
            <a:extLst>
              <a:ext uri="{FF2B5EF4-FFF2-40B4-BE49-F238E27FC236}">
                <a16:creationId xmlns:a16="http://schemas.microsoft.com/office/drawing/2014/main" id="{C258CF02-664C-4E4E-8D7C-51AC8F67602F}"/>
              </a:ext>
            </a:extLst>
          </p:cNvPr>
          <p:cNvSpPr>
            <a:spLocks noGrp="1"/>
          </p:cNvSpPr>
          <p:nvPr>
            <p:ph idx="1"/>
          </p:nvPr>
        </p:nvSpPr>
        <p:spPr>
          <a:xfrm>
            <a:off x="667658" y="2371268"/>
            <a:ext cx="10963835" cy="4450444"/>
          </a:xfrm>
        </p:spPr>
        <p:txBody>
          <a:bodyPr>
            <a:normAutofit/>
          </a:bodyPr>
          <a:lstStyle/>
          <a:p>
            <a:r>
              <a:rPr lang="en-US" dirty="0"/>
              <a:t>It’s unfortunately that the analysis couldn’t produce a precise model or showing any strong coefficient correlation for any venue type. But we can still get some meaningful and logical insights from the result.</a:t>
            </a:r>
            <a:endParaRPr lang="en-GB" dirty="0"/>
          </a:p>
          <a:p>
            <a:r>
              <a:rPr lang="en-US" dirty="0"/>
              <a:t>Some notes on the analysis result:</a:t>
            </a:r>
            <a:endParaRPr lang="en-GB" dirty="0"/>
          </a:p>
          <a:p>
            <a:pPr lvl="1"/>
            <a:r>
              <a:rPr lang="en-US" dirty="0"/>
              <a:t>This project is done by a web developer who only started self-studying Data Science for 4 months. So please take it with a grain of salt.</a:t>
            </a:r>
            <a:endParaRPr lang="en-GB" dirty="0"/>
          </a:p>
          <a:p>
            <a:pPr lvl="1"/>
            <a:r>
              <a:rPr lang="en-US" dirty="0"/>
              <a:t>The coefficients only show correlation, not causation. So, if your neighborhood average price is low, please don’t go destroying the surrounding bars and food trucks. There might be another reason. </a:t>
            </a:r>
            <a:endParaRPr lang="en-GB" dirty="0"/>
          </a:p>
          <a:p>
            <a:pPr marL="0" indent="0">
              <a:buNone/>
            </a:pPr>
            <a:endParaRPr lang="en-US" dirty="0"/>
          </a:p>
          <a:p>
            <a:endParaRPr lang="en-US" dirty="0"/>
          </a:p>
          <a:p>
            <a:endParaRPr lang="en-US" dirty="0"/>
          </a:p>
          <a:p>
            <a:endParaRPr lang="en-US" dirty="0"/>
          </a:p>
          <a:p>
            <a:endParaRPr lang="en-US" dirty="0"/>
          </a:p>
          <a:p>
            <a:pPr marL="0" indent="0">
              <a:buNone/>
            </a:pPr>
            <a:endParaRPr lang="en-GB" dirty="0"/>
          </a:p>
        </p:txBody>
      </p:sp>
      <p:sp>
        <p:nvSpPr>
          <p:cNvPr id="6" name="Rectangle 2">
            <a:extLst>
              <a:ext uri="{FF2B5EF4-FFF2-40B4-BE49-F238E27FC236}">
                <a16:creationId xmlns:a16="http://schemas.microsoft.com/office/drawing/2014/main" id="{3CED5C70-227C-47C5-BB26-477E7D9A9236}"/>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sp>
        <p:nvSpPr>
          <p:cNvPr id="9" name="Rectangle 5">
            <a:extLst>
              <a:ext uri="{FF2B5EF4-FFF2-40B4-BE49-F238E27FC236}">
                <a16:creationId xmlns:a16="http://schemas.microsoft.com/office/drawing/2014/main" id="{5C88AF8A-5A09-4245-99C2-16B12BA542B6}"/>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spTree>
    <p:extLst>
      <p:ext uri="{BB962C8B-B14F-4D97-AF65-F5344CB8AC3E}">
        <p14:creationId xmlns:p14="http://schemas.microsoft.com/office/powerpoint/2010/main" val="27966425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013B6-2BCC-472E-A78D-785CA3A7E4B5}"/>
              </a:ext>
            </a:extLst>
          </p:cNvPr>
          <p:cNvGraphicFramePr>
            <a:graphicFrameLocks noChangeAspect="1"/>
          </p:cNvGraphicFramePr>
          <p:nvPr>
            <p:custDataLst>
              <p:tags r:id="rId2"/>
            </p:custDataLst>
            <p:extLst>
              <p:ext uri="{D42A27DB-BD31-4B8C-83A1-F6EECF244321}">
                <p14:modId xmlns:p14="http://schemas.microsoft.com/office/powerpoint/2010/main" val="1600338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B3D013B6-2BCC-472E-A78D-785CA3A7E4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3421D35-B2B6-4C8C-B4DD-241ACC51CB4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b="1"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3FF0F3B8-4364-429E-A376-9A30880873B0}"/>
              </a:ext>
            </a:extLst>
          </p:cNvPr>
          <p:cNvSpPr>
            <a:spLocks noGrp="1"/>
          </p:cNvSpPr>
          <p:nvPr>
            <p:ph type="title"/>
          </p:nvPr>
        </p:nvSpPr>
        <p:spPr/>
        <p:txBody>
          <a:bodyPr/>
          <a:lstStyle/>
          <a:p>
            <a:r>
              <a:rPr lang="en-US" b="1" dirty="0"/>
              <a:t>Agenda </a:t>
            </a:r>
            <a:endParaRPr lang="en-GB" b="1" dirty="0"/>
          </a:p>
        </p:txBody>
      </p:sp>
      <p:sp>
        <p:nvSpPr>
          <p:cNvPr id="3" name="Content Placeholder 2">
            <a:extLst>
              <a:ext uri="{FF2B5EF4-FFF2-40B4-BE49-F238E27FC236}">
                <a16:creationId xmlns:a16="http://schemas.microsoft.com/office/drawing/2014/main" id="{C258CF02-664C-4E4E-8D7C-51AC8F67602F}"/>
              </a:ext>
            </a:extLst>
          </p:cNvPr>
          <p:cNvSpPr>
            <a:spLocks noGrp="1"/>
          </p:cNvSpPr>
          <p:nvPr>
            <p:ph idx="1"/>
          </p:nvPr>
        </p:nvSpPr>
        <p:spPr/>
        <p:txBody>
          <a:bodyPr>
            <a:normAutofit/>
          </a:bodyPr>
          <a:lstStyle/>
          <a:p>
            <a:pPr>
              <a:buFont typeface="+mj-lt"/>
              <a:buAutoNum type="arabicPeriod"/>
            </a:pPr>
            <a:r>
              <a:rPr lang="en-US" dirty="0"/>
              <a:t>Introduction and business problem</a:t>
            </a:r>
          </a:p>
          <a:p>
            <a:pPr>
              <a:buFont typeface="+mj-lt"/>
              <a:buAutoNum type="arabicPeriod"/>
            </a:pPr>
            <a:r>
              <a:rPr lang="en-US" dirty="0"/>
              <a:t>Data description</a:t>
            </a:r>
          </a:p>
          <a:p>
            <a:pPr>
              <a:buFont typeface="+mj-lt"/>
              <a:buAutoNum type="arabicPeriod"/>
            </a:pPr>
            <a:r>
              <a:rPr lang="en-US" dirty="0"/>
              <a:t>Methodology</a:t>
            </a:r>
          </a:p>
          <a:p>
            <a:pPr>
              <a:buFont typeface="+mj-lt"/>
              <a:buAutoNum type="arabicPeriod"/>
            </a:pPr>
            <a:r>
              <a:rPr lang="en-US" dirty="0"/>
              <a:t>Results</a:t>
            </a:r>
          </a:p>
          <a:p>
            <a:pPr>
              <a:buFont typeface="+mj-lt"/>
              <a:buAutoNum type="arabicPeriod"/>
            </a:pPr>
            <a:r>
              <a:rPr lang="en-US" dirty="0"/>
              <a:t>Discussions</a:t>
            </a:r>
          </a:p>
          <a:p>
            <a:pPr>
              <a:buFont typeface="+mj-lt"/>
              <a:buAutoNum type="arabicPeriod"/>
            </a:pPr>
            <a:r>
              <a:rPr lang="en-US" dirty="0"/>
              <a:t>Conclusion</a:t>
            </a:r>
          </a:p>
        </p:txBody>
      </p:sp>
    </p:spTree>
    <p:extLst>
      <p:ext uri="{BB962C8B-B14F-4D97-AF65-F5344CB8AC3E}">
        <p14:creationId xmlns:p14="http://schemas.microsoft.com/office/powerpoint/2010/main" val="26663659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013B6-2BCC-472E-A78D-785CA3A7E4B5}"/>
              </a:ext>
            </a:extLst>
          </p:cNvPr>
          <p:cNvGraphicFramePr>
            <a:graphicFrameLocks noChangeAspect="1"/>
          </p:cNvGraphicFramePr>
          <p:nvPr>
            <p:custDataLst>
              <p:tags r:id="rId2"/>
            </p:custDataLst>
            <p:extLst>
              <p:ext uri="{D42A27DB-BD31-4B8C-83A1-F6EECF244321}">
                <p14:modId xmlns:p14="http://schemas.microsoft.com/office/powerpoint/2010/main" val="118215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B3D013B6-2BCC-472E-A78D-785CA3A7E4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3421D35-B2B6-4C8C-B4DD-241ACC51CB4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b="1"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3FF0F3B8-4364-429E-A376-9A30880873B0}"/>
              </a:ext>
            </a:extLst>
          </p:cNvPr>
          <p:cNvSpPr>
            <a:spLocks noGrp="1"/>
          </p:cNvSpPr>
          <p:nvPr>
            <p:ph type="title"/>
          </p:nvPr>
        </p:nvSpPr>
        <p:spPr/>
        <p:txBody>
          <a:bodyPr/>
          <a:lstStyle/>
          <a:p>
            <a:r>
              <a:rPr lang="en-US" b="1" dirty="0"/>
              <a:t>Introduction and Business problem</a:t>
            </a:r>
            <a:endParaRPr lang="en-GB" b="1" dirty="0"/>
          </a:p>
        </p:txBody>
      </p:sp>
      <p:sp>
        <p:nvSpPr>
          <p:cNvPr id="3" name="Content Placeholder 2">
            <a:extLst>
              <a:ext uri="{FF2B5EF4-FFF2-40B4-BE49-F238E27FC236}">
                <a16:creationId xmlns:a16="http://schemas.microsoft.com/office/drawing/2014/main" id="{C258CF02-664C-4E4E-8D7C-51AC8F67602F}"/>
              </a:ext>
            </a:extLst>
          </p:cNvPr>
          <p:cNvSpPr>
            <a:spLocks noGrp="1"/>
          </p:cNvSpPr>
          <p:nvPr>
            <p:ph idx="1"/>
          </p:nvPr>
        </p:nvSpPr>
        <p:spPr>
          <a:xfrm>
            <a:off x="797859" y="2429327"/>
            <a:ext cx="10963835" cy="4254500"/>
          </a:xfrm>
        </p:spPr>
        <p:txBody>
          <a:bodyPr>
            <a:normAutofit fontScale="92500" lnSpcReduction="10000"/>
          </a:bodyPr>
          <a:lstStyle/>
          <a:p>
            <a:r>
              <a:rPr lang="en-US" dirty="0"/>
              <a:t>The idea comes from the process of a normal family finding a place to stay after moving to another city. It’s common that the owners or agents advertise their properties are closed to some kinds of venues like supermarkets, restaurants or coffee shops, etc.; showing the “convenience” of the location in order to raise their house’s value.</a:t>
            </a:r>
            <a:endParaRPr lang="en-GB" dirty="0"/>
          </a:p>
          <a:p>
            <a:r>
              <a:rPr lang="en-US" dirty="0"/>
              <a:t>So, can the surrounding venues affect the price of a house? If so, what types of venues have the most affect, both positively and negatively?</a:t>
            </a:r>
          </a:p>
          <a:p>
            <a:r>
              <a:rPr lang="en-US" dirty="0"/>
              <a:t>The main goal will be exploring the neighborhoods of New York city in order to extract the correlation between the real estate value and its surrounding venues.</a:t>
            </a:r>
            <a:endParaRPr lang="en-GB" dirty="0"/>
          </a:p>
          <a:p>
            <a:r>
              <a:rPr lang="en-US" dirty="0"/>
              <a:t>The target audience for this report are:</a:t>
            </a:r>
            <a:endParaRPr lang="en-GB" dirty="0"/>
          </a:p>
          <a:p>
            <a:pPr lvl="1"/>
            <a:r>
              <a:rPr lang="en-US" dirty="0"/>
              <a:t>Potential buyers who can roughly estimate the value of a house based on the surrounding venues and the average price.</a:t>
            </a:r>
            <a:endParaRPr lang="en-GB" dirty="0"/>
          </a:p>
          <a:p>
            <a:pPr lvl="1"/>
            <a:r>
              <a:rPr lang="en-US" dirty="0"/>
              <a:t>Real estate makers and planners who can decide what kind of venues to put around their products to maximize selling price.</a:t>
            </a:r>
            <a:endParaRPr lang="en-GB" dirty="0"/>
          </a:p>
          <a:p>
            <a:pPr lvl="1"/>
            <a:r>
              <a:rPr lang="en-US" dirty="0"/>
              <a:t>Houses sellers who can optimize their advertisements.</a:t>
            </a:r>
            <a:endParaRPr lang="en-GB" dirty="0"/>
          </a:p>
        </p:txBody>
      </p:sp>
    </p:spTree>
    <p:extLst>
      <p:ext uri="{BB962C8B-B14F-4D97-AF65-F5344CB8AC3E}">
        <p14:creationId xmlns:p14="http://schemas.microsoft.com/office/powerpoint/2010/main" val="30499495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013B6-2BCC-472E-A78D-785CA3A7E4B5}"/>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B3D013B6-2BCC-472E-A78D-785CA3A7E4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3421D35-B2B6-4C8C-B4DD-241ACC51CB4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b="1"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3FF0F3B8-4364-429E-A376-9A30880873B0}"/>
              </a:ext>
            </a:extLst>
          </p:cNvPr>
          <p:cNvSpPr>
            <a:spLocks noGrp="1"/>
          </p:cNvSpPr>
          <p:nvPr>
            <p:ph type="title"/>
          </p:nvPr>
        </p:nvSpPr>
        <p:spPr/>
        <p:txBody>
          <a:bodyPr/>
          <a:lstStyle/>
          <a:p>
            <a:r>
              <a:rPr lang="en-US" b="1" dirty="0"/>
              <a:t>Data description</a:t>
            </a:r>
            <a:endParaRPr lang="en-GB" b="1" dirty="0"/>
          </a:p>
        </p:txBody>
      </p:sp>
      <p:sp>
        <p:nvSpPr>
          <p:cNvPr id="3" name="Content Placeholder 2">
            <a:extLst>
              <a:ext uri="{FF2B5EF4-FFF2-40B4-BE49-F238E27FC236}">
                <a16:creationId xmlns:a16="http://schemas.microsoft.com/office/drawing/2014/main" id="{C258CF02-664C-4E4E-8D7C-51AC8F67602F}"/>
              </a:ext>
            </a:extLst>
          </p:cNvPr>
          <p:cNvSpPr>
            <a:spLocks noGrp="1"/>
          </p:cNvSpPr>
          <p:nvPr>
            <p:ph idx="1"/>
          </p:nvPr>
        </p:nvSpPr>
        <p:spPr>
          <a:xfrm>
            <a:off x="797859" y="2603500"/>
            <a:ext cx="10963835" cy="3416300"/>
          </a:xfrm>
        </p:spPr>
        <p:txBody>
          <a:bodyPr>
            <a:normAutofit/>
          </a:bodyPr>
          <a:lstStyle/>
          <a:p>
            <a:r>
              <a:rPr lang="en-US" dirty="0"/>
              <a:t>New York city neighborhoods were chosen, among others du to the availability of real estate price data.</a:t>
            </a:r>
          </a:p>
          <a:p>
            <a:r>
              <a:rPr lang="en-US" dirty="0"/>
              <a:t>The type of real estate to be considered is 2-bedroom condo, which is common for most normal nuclear families.</a:t>
            </a:r>
          </a:p>
          <a:p>
            <a:r>
              <a:rPr lang="en-US" dirty="0"/>
              <a:t>The dataset will be composed from the following two main sources:</a:t>
            </a:r>
            <a:endParaRPr lang="en-GB" dirty="0"/>
          </a:p>
          <a:p>
            <a:pPr lvl="1"/>
            <a:r>
              <a:rPr lang="en-US" dirty="0" err="1"/>
              <a:t>CityRealty</a:t>
            </a:r>
            <a:r>
              <a:rPr lang="en-US" dirty="0"/>
              <a:t> which provides the neighborhoods average prices. </a:t>
            </a:r>
            <a:r>
              <a:rPr lang="en-US" u="sng" dirty="0">
                <a:hlinkClick r:id="rId7"/>
              </a:rPr>
              <a:t>https://www.cityrealty.com/nyc/market-insight/features/get-to-know/average-nyc-condo-prices-neighborhood-june-2018/18804</a:t>
            </a:r>
            <a:endParaRPr lang="en-GB" dirty="0"/>
          </a:p>
          <a:p>
            <a:pPr lvl="1"/>
            <a:r>
              <a:rPr lang="en-US" dirty="0" err="1"/>
              <a:t>FourSquare</a:t>
            </a:r>
            <a:r>
              <a:rPr lang="en-US" dirty="0"/>
              <a:t> API which provides the surrounding venues of a given coordinates.</a:t>
            </a:r>
            <a:endParaRPr lang="en-GB" dirty="0"/>
          </a:p>
        </p:txBody>
      </p:sp>
    </p:spTree>
    <p:extLst>
      <p:ext uri="{BB962C8B-B14F-4D97-AF65-F5344CB8AC3E}">
        <p14:creationId xmlns:p14="http://schemas.microsoft.com/office/powerpoint/2010/main" val="20453006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013B6-2BCC-472E-A78D-785CA3A7E4B5}"/>
              </a:ext>
            </a:extLst>
          </p:cNvPr>
          <p:cNvGraphicFramePr>
            <a:graphicFrameLocks noChangeAspect="1"/>
          </p:cNvGraphicFramePr>
          <p:nvPr>
            <p:custDataLst>
              <p:tags r:id="rId2"/>
            </p:custDataLst>
            <p:extLst>
              <p:ext uri="{D42A27DB-BD31-4B8C-83A1-F6EECF244321}">
                <p14:modId xmlns:p14="http://schemas.microsoft.com/office/powerpoint/2010/main" val="2402891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B3D013B6-2BCC-472E-A78D-785CA3A7E4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3421D35-B2B6-4C8C-B4DD-241ACC51CB4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b="1"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3FF0F3B8-4364-429E-A376-9A30880873B0}"/>
              </a:ext>
            </a:extLst>
          </p:cNvPr>
          <p:cNvSpPr>
            <a:spLocks noGrp="1"/>
          </p:cNvSpPr>
          <p:nvPr>
            <p:ph type="title"/>
          </p:nvPr>
        </p:nvSpPr>
        <p:spPr/>
        <p:txBody>
          <a:bodyPr/>
          <a:lstStyle/>
          <a:p>
            <a:r>
              <a:rPr lang="en-US" b="1" dirty="0"/>
              <a:t>Data description</a:t>
            </a:r>
            <a:endParaRPr lang="en-GB" b="1" dirty="0"/>
          </a:p>
        </p:txBody>
      </p:sp>
      <p:sp>
        <p:nvSpPr>
          <p:cNvPr id="3" name="Content Placeholder 2">
            <a:extLst>
              <a:ext uri="{FF2B5EF4-FFF2-40B4-BE49-F238E27FC236}">
                <a16:creationId xmlns:a16="http://schemas.microsoft.com/office/drawing/2014/main" id="{C258CF02-664C-4E4E-8D7C-51AC8F67602F}"/>
              </a:ext>
            </a:extLst>
          </p:cNvPr>
          <p:cNvSpPr>
            <a:spLocks noGrp="1"/>
          </p:cNvSpPr>
          <p:nvPr>
            <p:ph idx="1"/>
          </p:nvPr>
        </p:nvSpPr>
        <p:spPr>
          <a:xfrm>
            <a:off x="797859" y="2603499"/>
            <a:ext cx="10963835" cy="4450444"/>
          </a:xfrm>
        </p:spPr>
        <p:txBody>
          <a:bodyPr>
            <a:normAutofit/>
          </a:bodyPr>
          <a:lstStyle/>
          <a:p>
            <a:r>
              <a:rPr lang="en-US" dirty="0"/>
              <a:t>The process of collecting and clean data:</a:t>
            </a:r>
            <a:endParaRPr lang="en-GB" dirty="0"/>
          </a:p>
          <a:p>
            <a:pPr lvl="1"/>
            <a:r>
              <a:rPr lang="en-US" b="1" dirty="0"/>
              <a:t>Scrap</a:t>
            </a:r>
            <a:r>
              <a:rPr lang="en-US" dirty="0"/>
              <a:t> the </a:t>
            </a:r>
            <a:r>
              <a:rPr lang="en-US" dirty="0" err="1"/>
              <a:t>CityRealty</a:t>
            </a:r>
            <a:r>
              <a:rPr lang="en-US" dirty="0"/>
              <a:t> webpage for a list of New York city neighborhoods and their corresponding 2-bedroom condo average price.</a:t>
            </a:r>
            <a:endParaRPr lang="en-GB" dirty="0"/>
          </a:p>
          <a:p>
            <a:pPr lvl="1"/>
            <a:r>
              <a:rPr lang="en-US" b="1" dirty="0"/>
              <a:t>Find the geographic data </a:t>
            </a:r>
            <a:r>
              <a:rPr lang="en-US" dirty="0"/>
              <a:t>of the neighborhoods. Both their center coordinates and their border.</a:t>
            </a:r>
            <a:endParaRPr lang="en-GB" dirty="0"/>
          </a:p>
          <a:p>
            <a:pPr lvl="1"/>
            <a:r>
              <a:rPr lang="en-US" dirty="0"/>
              <a:t>For each neighborhood, pass the obtained </a:t>
            </a:r>
            <a:r>
              <a:rPr lang="en-US" b="1" dirty="0"/>
              <a:t>coordinates to </a:t>
            </a:r>
            <a:r>
              <a:rPr lang="en-US" b="1" dirty="0" err="1"/>
              <a:t>FourSquare</a:t>
            </a:r>
            <a:r>
              <a:rPr lang="en-US" b="1" dirty="0"/>
              <a:t> API</a:t>
            </a:r>
            <a:r>
              <a:rPr lang="en-US" dirty="0"/>
              <a:t>. The “explore” endpoint will return a list of surrounding venues in a pre-defined radius.</a:t>
            </a:r>
            <a:endParaRPr lang="en-GB" dirty="0"/>
          </a:p>
          <a:p>
            <a:pPr lvl="1"/>
            <a:r>
              <a:rPr lang="en-US" b="1" dirty="0"/>
              <a:t>Count the occurrence of each venue type </a:t>
            </a:r>
            <a:r>
              <a:rPr lang="en-US" dirty="0"/>
              <a:t>in a neighborhood. Then apply </a:t>
            </a:r>
            <a:r>
              <a:rPr lang="en-US" b="1" dirty="0"/>
              <a:t>one hot encoding</a:t>
            </a:r>
            <a:r>
              <a:rPr lang="en-US" dirty="0"/>
              <a:t> to turn each venue type into a column with their occurrence as the value.</a:t>
            </a:r>
            <a:endParaRPr lang="en-GB" dirty="0"/>
          </a:p>
          <a:p>
            <a:pPr lvl="1"/>
            <a:r>
              <a:rPr lang="en-US" b="1" dirty="0"/>
              <a:t>Standardize the average price </a:t>
            </a:r>
            <a:r>
              <a:rPr lang="en-US" dirty="0"/>
              <a:t>by removing the mean and scaling to unit variance.</a:t>
            </a:r>
            <a:endParaRPr lang="en-GB" dirty="0"/>
          </a:p>
        </p:txBody>
      </p:sp>
    </p:spTree>
    <p:extLst>
      <p:ext uri="{BB962C8B-B14F-4D97-AF65-F5344CB8AC3E}">
        <p14:creationId xmlns:p14="http://schemas.microsoft.com/office/powerpoint/2010/main" val="12044060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013B6-2BCC-472E-A78D-785CA3A7E4B5}"/>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B3D013B6-2BCC-472E-A78D-785CA3A7E4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3421D35-B2B6-4C8C-B4DD-241ACC51CB4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b="1"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3FF0F3B8-4364-429E-A376-9A30880873B0}"/>
              </a:ext>
            </a:extLst>
          </p:cNvPr>
          <p:cNvSpPr>
            <a:spLocks noGrp="1"/>
          </p:cNvSpPr>
          <p:nvPr>
            <p:ph type="title"/>
          </p:nvPr>
        </p:nvSpPr>
        <p:spPr/>
        <p:txBody>
          <a:bodyPr/>
          <a:lstStyle/>
          <a:p>
            <a:r>
              <a:rPr lang="en-US" b="1" dirty="0"/>
              <a:t>Data description</a:t>
            </a:r>
            <a:endParaRPr lang="en-GB" b="1" dirty="0"/>
          </a:p>
        </p:txBody>
      </p:sp>
      <p:sp>
        <p:nvSpPr>
          <p:cNvPr id="3" name="Content Placeholder 2">
            <a:extLst>
              <a:ext uri="{FF2B5EF4-FFF2-40B4-BE49-F238E27FC236}">
                <a16:creationId xmlns:a16="http://schemas.microsoft.com/office/drawing/2014/main" id="{C258CF02-664C-4E4E-8D7C-51AC8F67602F}"/>
              </a:ext>
            </a:extLst>
          </p:cNvPr>
          <p:cNvSpPr>
            <a:spLocks noGrp="1"/>
          </p:cNvSpPr>
          <p:nvPr>
            <p:ph idx="1"/>
          </p:nvPr>
        </p:nvSpPr>
        <p:spPr>
          <a:xfrm>
            <a:off x="797859" y="2603499"/>
            <a:ext cx="10963835" cy="4450444"/>
          </a:xfrm>
        </p:spPr>
        <p:txBody>
          <a:bodyPr>
            <a:normAutofit/>
          </a:bodyPr>
          <a:lstStyle/>
          <a:p>
            <a:r>
              <a:rPr lang="en-US" dirty="0"/>
              <a:t>The result dataset is a 2 dimensions data frame (Figure 1):</a:t>
            </a:r>
            <a:endParaRPr lang="en-GB" dirty="0"/>
          </a:p>
          <a:p>
            <a:pPr lvl="1"/>
            <a:r>
              <a:rPr lang="en-US" dirty="0"/>
              <a:t>Each row represents a neighborhood.</a:t>
            </a:r>
            <a:endParaRPr lang="en-GB" dirty="0"/>
          </a:p>
          <a:p>
            <a:pPr lvl="1"/>
            <a:r>
              <a:rPr lang="en-US" dirty="0"/>
              <a:t>Each column, except the last one, is the occurrence of a venue type. The last column will be the standardized average price.</a:t>
            </a:r>
            <a:endParaRPr lang="en-GB" dirty="0"/>
          </a:p>
        </p:txBody>
      </p:sp>
      <p:sp>
        <p:nvSpPr>
          <p:cNvPr id="6" name="Rectangle 2">
            <a:extLst>
              <a:ext uri="{FF2B5EF4-FFF2-40B4-BE49-F238E27FC236}">
                <a16:creationId xmlns:a16="http://schemas.microsoft.com/office/drawing/2014/main" id="{3CED5C70-227C-47C5-BB26-477E7D9A9236}"/>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pic>
        <p:nvPicPr>
          <p:cNvPr id="6145" name="Picture 1">
            <a:extLst>
              <a:ext uri="{FF2B5EF4-FFF2-40B4-BE49-F238E27FC236}">
                <a16:creationId xmlns:a16="http://schemas.microsoft.com/office/drawing/2014/main" id="{9666424D-8CC4-4CAF-949A-86D8989AB62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075035" y="4171646"/>
            <a:ext cx="7128508" cy="1951763"/>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3">
            <a:extLst>
              <a:ext uri="{FF2B5EF4-FFF2-40B4-BE49-F238E27FC236}">
                <a16:creationId xmlns:a16="http://schemas.microsoft.com/office/drawing/2014/main" id="{1519147F-2C2D-4BEA-9E1D-8D3EEA772C61}"/>
              </a:ext>
            </a:extLst>
          </p:cNvPr>
          <p:cNvSpPr>
            <a:spLocks noChangeArrowheads="1"/>
          </p:cNvSpPr>
          <p:nvPr/>
        </p:nvSpPr>
        <p:spPr bwMode="auto">
          <a:xfrm>
            <a:off x="667658" y="644252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1" u="none" strike="noStrike" cap="none" normalizeH="0" baseline="0" dirty="0" bmk="_Toc529925771">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Figure 1 - Final datase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4489883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013B6-2BCC-472E-A78D-785CA3A7E4B5}"/>
              </a:ext>
            </a:extLst>
          </p:cNvPr>
          <p:cNvGraphicFramePr>
            <a:graphicFrameLocks noChangeAspect="1"/>
          </p:cNvGraphicFramePr>
          <p:nvPr>
            <p:custDataLst>
              <p:tags r:id="rId2"/>
            </p:custDataLst>
            <p:extLst>
              <p:ext uri="{D42A27DB-BD31-4B8C-83A1-F6EECF244321}">
                <p14:modId xmlns:p14="http://schemas.microsoft.com/office/powerpoint/2010/main" val="38406800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B3D013B6-2BCC-472E-A78D-785CA3A7E4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3421D35-B2B6-4C8C-B4DD-241ACC51CB4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b="1"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3FF0F3B8-4364-429E-A376-9A30880873B0}"/>
              </a:ext>
            </a:extLst>
          </p:cNvPr>
          <p:cNvSpPr>
            <a:spLocks noGrp="1"/>
          </p:cNvSpPr>
          <p:nvPr>
            <p:ph type="title"/>
          </p:nvPr>
        </p:nvSpPr>
        <p:spPr/>
        <p:txBody>
          <a:bodyPr/>
          <a:lstStyle/>
          <a:p>
            <a:r>
              <a:rPr lang="en-US" b="1" dirty="0"/>
              <a:t>Methodology</a:t>
            </a:r>
            <a:endParaRPr lang="en-GB" b="1" dirty="0"/>
          </a:p>
        </p:txBody>
      </p:sp>
      <p:sp>
        <p:nvSpPr>
          <p:cNvPr id="3" name="Content Placeholder 2">
            <a:extLst>
              <a:ext uri="{FF2B5EF4-FFF2-40B4-BE49-F238E27FC236}">
                <a16:creationId xmlns:a16="http://schemas.microsoft.com/office/drawing/2014/main" id="{C258CF02-664C-4E4E-8D7C-51AC8F67602F}"/>
              </a:ext>
            </a:extLst>
          </p:cNvPr>
          <p:cNvSpPr>
            <a:spLocks noGrp="1"/>
          </p:cNvSpPr>
          <p:nvPr>
            <p:ph idx="1"/>
          </p:nvPr>
        </p:nvSpPr>
        <p:spPr>
          <a:xfrm>
            <a:off x="797859" y="2603499"/>
            <a:ext cx="10963835" cy="4450444"/>
          </a:xfrm>
        </p:spPr>
        <p:txBody>
          <a:bodyPr>
            <a:normAutofit/>
          </a:bodyPr>
          <a:lstStyle/>
          <a:p>
            <a:r>
              <a:rPr lang="en-US" dirty="0"/>
              <a:t>The assumption is that real estate price is dependent on the surrounding venue. Thus, regression techniques will be used to analyze the dataset. The regressors will be the occurrences of venue types. And the dependent variable will be standardized average prices.</a:t>
            </a:r>
            <a:endParaRPr lang="en-GB" dirty="0"/>
          </a:p>
          <a:p>
            <a:r>
              <a:rPr lang="en-US" dirty="0"/>
              <a:t>At the end, a regression model will be obtained. Along with a coefficients list which describes how each venue type may be related to the increase or decrease of a neighborhood’s real estate average price around the mean.</a:t>
            </a:r>
          </a:p>
          <a:p>
            <a:r>
              <a:rPr lang="en-US" dirty="0"/>
              <a:t>The retained tool for this analysis is Python</a:t>
            </a:r>
            <a:endParaRPr lang="en-GB" dirty="0"/>
          </a:p>
        </p:txBody>
      </p:sp>
      <p:sp>
        <p:nvSpPr>
          <p:cNvPr id="6" name="Rectangle 2">
            <a:extLst>
              <a:ext uri="{FF2B5EF4-FFF2-40B4-BE49-F238E27FC236}">
                <a16:creationId xmlns:a16="http://schemas.microsoft.com/office/drawing/2014/main" id="{3CED5C70-227C-47C5-BB26-477E7D9A9236}"/>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sp>
        <p:nvSpPr>
          <p:cNvPr id="7" name="Rectangle 3">
            <a:extLst>
              <a:ext uri="{FF2B5EF4-FFF2-40B4-BE49-F238E27FC236}">
                <a16:creationId xmlns:a16="http://schemas.microsoft.com/office/drawing/2014/main" id="{1519147F-2C2D-4BEA-9E1D-8D3EEA772C61}"/>
              </a:ext>
            </a:extLst>
          </p:cNvPr>
          <p:cNvSpPr>
            <a:spLocks noChangeArrowheads="1"/>
          </p:cNvSpPr>
          <p:nvPr/>
        </p:nvSpPr>
        <p:spPr bwMode="auto">
          <a:xfrm>
            <a:off x="667658" y="644252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1" u="none" strike="noStrike" cap="none" normalizeH="0" baseline="0" dirty="0" bmk="_Toc529925771">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Figure 1 - Final datase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40576927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013B6-2BCC-472E-A78D-785CA3A7E4B5}"/>
              </a:ext>
            </a:extLst>
          </p:cNvPr>
          <p:cNvGraphicFramePr>
            <a:graphicFrameLocks noChangeAspect="1"/>
          </p:cNvGraphicFramePr>
          <p:nvPr>
            <p:custDataLst>
              <p:tags r:id="rId2"/>
            </p:custDataLst>
            <p:extLst>
              <p:ext uri="{D42A27DB-BD31-4B8C-83A1-F6EECF244321}">
                <p14:modId xmlns:p14="http://schemas.microsoft.com/office/powerpoint/2010/main" val="4987630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B3D013B6-2BCC-472E-A78D-785CA3A7E4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3421D35-B2B6-4C8C-B4DD-241ACC51CB4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b="1"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3FF0F3B8-4364-429E-A376-9A30880873B0}"/>
              </a:ext>
            </a:extLst>
          </p:cNvPr>
          <p:cNvSpPr>
            <a:spLocks noGrp="1"/>
          </p:cNvSpPr>
          <p:nvPr>
            <p:ph type="title"/>
          </p:nvPr>
        </p:nvSpPr>
        <p:spPr>
          <a:xfrm>
            <a:off x="1154954" y="973668"/>
            <a:ext cx="9614646" cy="706964"/>
          </a:xfrm>
        </p:spPr>
        <p:txBody>
          <a:bodyPr/>
          <a:lstStyle/>
          <a:p>
            <a:r>
              <a:rPr lang="en-US" b="1" dirty="0"/>
              <a:t>Methodology: 1</a:t>
            </a:r>
            <a:r>
              <a:rPr lang="en-US" b="1" baseline="30000" dirty="0"/>
              <a:t>st</a:t>
            </a:r>
            <a:r>
              <a:rPr lang="en-US" b="1" dirty="0"/>
              <a:t> insight using visualization</a:t>
            </a:r>
            <a:endParaRPr lang="en-GB" b="1" dirty="0"/>
          </a:p>
        </p:txBody>
      </p:sp>
      <p:sp>
        <p:nvSpPr>
          <p:cNvPr id="3" name="Content Placeholder 2">
            <a:extLst>
              <a:ext uri="{FF2B5EF4-FFF2-40B4-BE49-F238E27FC236}">
                <a16:creationId xmlns:a16="http://schemas.microsoft.com/office/drawing/2014/main" id="{C258CF02-664C-4E4E-8D7C-51AC8F67602F}"/>
              </a:ext>
            </a:extLst>
          </p:cNvPr>
          <p:cNvSpPr>
            <a:spLocks noGrp="1"/>
          </p:cNvSpPr>
          <p:nvPr>
            <p:ph idx="1"/>
          </p:nvPr>
        </p:nvSpPr>
        <p:spPr>
          <a:xfrm>
            <a:off x="667658" y="2197100"/>
            <a:ext cx="10963835" cy="4450444"/>
          </a:xfrm>
        </p:spPr>
        <p:txBody>
          <a:bodyPr>
            <a:normAutofit/>
          </a:bodyPr>
          <a:lstStyle/>
          <a:p>
            <a:r>
              <a:rPr lang="en-US" dirty="0"/>
              <a:t>Visualization of New York city real estate average price between neighborhoods using a Choropleth map:</a:t>
            </a:r>
            <a:endParaRPr lang="en-GB" dirty="0"/>
          </a:p>
        </p:txBody>
      </p:sp>
      <p:sp>
        <p:nvSpPr>
          <p:cNvPr id="6" name="Rectangle 2">
            <a:extLst>
              <a:ext uri="{FF2B5EF4-FFF2-40B4-BE49-F238E27FC236}">
                <a16:creationId xmlns:a16="http://schemas.microsoft.com/office/drawing/2014/main" id="{3CED5C70-227C-47C5-BB26-477E7D9A9236}"/>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pic>
        <p:nvPicPr>
          <p:cNvPr id="8" name="Picture 7">
            <a:extLst>
              <a:ext uri="{FF2B5EF4-FFF2-40B4-BE49-F238E27FC236}">
                <a16:creationId xmlns:a16="http://schemas.microsoft.com/office/drawing/2014/main" id="{8E0C522E-5DB0-416F-846A-F16C093FFA07}"/>
              </a:ext>
            </a:extLst>
          </p:cNvPr>
          <p:cNvPicPr/>
          <p:nvPr/>
        </p:nvPicPr>
        <p:blipFill>
          <a:blip r:embed="rId7">
            <a:extLst>
              <a:ext uri="{28A0092B-C50C-407E-A947-70E740481C1C}">
                <a14:useLocalDpi xmlns:a14="http://schemas.microsoft.com/office/drawing/2010/main" val="0"/>
              </a:ext>
            </a:extLst>
          </a:blip>
          <a:stretch>
            <a:fillRect/>
          </a:stretch>
        </p:blipFill>
        <p:spPr>
          <a:xfrm>
            <a:off x="3719285" y="2725300"/>
            <a:ext cx="5943600" cy="3723094"/>
          </a:xfrm>
          <a:prstGeom prst="rect">
            <a:avLst/>
          </a:prstGeom>
        </p:spPr>
      </p:pic>
      <p:sp>
        <p:nvSpPr>
          <p:cNvPr id="9" name="Rectangle 8">
            <a:extLst>
              <a:ext uri="{FF2B5EF4-FFF2-40B4-BE49-F238E27FC236}">
                <a16:creationId xmlns:a16="http://schemas.microsoft.com/office/drawing/2014/main" id="{A517B480-3657-4DA0-84BA-4ABBE1BE3828}"/>
              </a:ext>
            </a:extLst>
          </p:cNvPr>
          <p:cNvSpPr/>
          <p:nvPr/>
        </p:nvSpPr>
        <p:spPr>
          <a:xfrm>
            <a:off x="2830285" y="6448394"/>
            <a:ext cx="7721600" cy="369332"/>
          </a:xfrm>
          <a:prstGeom prst="rect">
            <a:avLst/>
          </a:prstGeom>
        </p:spPr>
        <p:txBody>
          <a:bodyPr wrap="square">
            <a:spAutoFit/>
          </a:bodyPr>
          <a:lstStyle/>
          <a:p>
            <a:pPr algn="ctr">
              <a:spcAft>
                <a:spcPts val="1000"/>
              </a:spcAft>
            </a:pPr>
            <a:r>
              <a:rPr lang="en-US" i="1" dirty="0">
                <a:solidFill>
                  <a:srgbClr val="44546A"/>
                </a:solidFill>
                <a:latin typeface="Arial" panose="020B0604020202020204" pitchFamily="34" charset="0"/>
                <a:ea typeface="Calibri" panose="020F0502020204030204" pitchFamily="34" charset="0"/>
                <a:cs typeface="Times New Roman" panose="02020603050405020304" pitchFamily="18" charset="0"/>
              </a:rPr>
              <a:t>Figure 2 - New York city real estate price spread between neighborhoods</a:t>
            </a:r>
            <a:endParaRPr lang="en-GB" sz="1050" i="1" dirty="0">
              <a:solidFill>
                <a:srgbClr val="44546A"/>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5454953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013B6-2BCC-472E-A78D-785CA3A7E4B5}"/>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B3D013B6-2BCC-472E-A78D-785CA3A7E4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3421D35-B2B6-4C8C-B4DD-241ACC51CB4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b="1"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3FF0F3B8-4364-429E-A376-9A30880873B0}"/>
              </a:ext>
            </a:extLst>
          </p:cNvPr>
          <p:cNvSpPr>
            <a:spLocks noGrp="1"/>
          </p:cNvSpPr>
          <p:nvPr>
            <p:ph type="title"/>
          </p:nvPr>
        </p:nvSpPr>
        <p:spPr>
          <a:xfrm>
            <a:off x="1154954" y="973668"/>
            <a:ext cx="9614646" cy="706964"/>
          </a:xfrm>
        </p:spPr>
        <p:txBody>
          <a:bodyPr/>
          <a:lstStyle/>
          <a:p>
            <a:r>
              <a:rPr lang="en-US" b="1" dirty="0"/>
              <a:t>Methodology: 1</a:t>
            </a:r>
            <a:r>
              <a:rPr lang="en-US" b="1" baseline="30000" dirty="0"/>
              <a:t>st</a:t>
            </a:r>
            <a:r>
              <a:rPr lang="en-US" b="1" dirty="0"/>
              <a:t> insight using visualization</a:t>
            </a:r>
            <a:endParaRPr lang="en-GB" b="1" dirty="0"/>
          </a:p>
        </p:txBody>
      </p:sp>
      <p:sp>
        <p:nvSpPr>
          <p:cNvPr id="3" name="Content Placeholder 2">
            <a:extLst>
              <a:ext uri="{FF2B5EF4-FFF2-40B4-BE49-F238E27FC236}">
                <a16:creationId xmlns:a16="http://schemas.microsoft.com/office/drawing/2014/main" id="{C258CF02-664C-4E4E-8D7C-51AC8F67602F}"/>
              </a:ext>
            </a:extLst>
          </p:cNvPr>
          <p:cNvSpPr>
            <a:spLocks noGrp="1"/>
          </p:cNvSpPr>
          <p:nvPr>
            <p:ph idx="1"/>
          </p:nvPr>
        </p:nvSpPr>
        <p:spPr>
          <a:xfrm>
            <a:off x="667658" y="2371268"/>
            <a:ext cx="10963835" cy="4450444"/>
          </a:xfrm>
        </p:spPr>
        <p:txBody>
          <a:bodyPr>
            <a:normAutofit/>
          </a:bodyPr>
          <a:lstStyle/>
          <a:p>
            <a:r>
              <a:rPr lang="en-US" dirty="0"/>
              <a:t>The previous map shows high price in neighborhoods that located around Central Park, Midtown and Lower Manhattan. The price reduces further toward North Manhattan or toward Brooklyn.</a:t>
            </a:r>
            <a:endParaRPr lang="en-GB" dirty="0"/>
          </a:p>
          <a:p>
            <a:r>
              <a:rPr lang="en-US" dirty="0"/>
              <a:t>Manhattan can be considered the heart of New York city. It’s where most businesses, tourist attractions and entertainments located. So, the venue types that can attract many people are expected to have the most positive coefficients in the regression model.</a:t>
            </a:r>
            <a:endParaRPr lang="en-GB" dirty="0"/>
          </a:p>
        </p:txBody>
      </p:sp>
      <p:sp>
        <p:nvSpPr>
          <p:cNvPr id="6" name="Rectangle 2">
            <a:extLst>
              <a:ext uri="{FF2B5EF4-FFF2-40B4-BE49-F238E27FC236}">
                <a16:creationId xmlns:a16="http://schemas.microsoft.com/office/drawing/2014/main" id="{3CED5C70-227C-47C5-BB26-477E7D9A9236}"/>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spTree>
    <p:extLst>
      <p:ext uri="{BB962C8B-B14F-4D97-AF65-F5344CB8AC3E}">
        <p14:creationId xmlns:p14="http://schemas.microsoft.com/office/powerpoint/2010/main" val="37210711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JUCm6u5Qa7y05XZvvN1St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JUCm6u5Qa7y05XZvvN1St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JUCm6u5Qa7y05XZvvN1St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JUCm6u5Qa7y05XZvvN1St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JUCm6u5Qa7y05XZvvN1St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JUCm6u5Qa7y05XZvvN1St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JUCm6u5Qa7y05XZvvN1St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JUCm6u5Qa7y05XZvvN1St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JUCm6u5Qa7y05XZvvN1St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JUCm6u5Qa7y05XZvvN1St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ti_HhViwSzg3WJEyUcKj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JUCm6u5Qa7y05XZvvN1St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JUCm6u5Qa7y05XZvvN1St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JUCm6u5Qa7y05XZvvN1St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JUCm6u5Qa7y05XZvvN1St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YAqW_DWuGncKTbV2SEeKv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JUCm6u5Qa7y05XZvvN1St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JUCm6u5Qa7y05XZvvN1Stw"/>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Ion Boardroom">
  <a:themeElements>
    <a:clrScheme name="Ion Boardroom">
      <a:dk1>
        <a:sysClr val="windowText" lastClr="000000"/>
      </a:dk1>
      <a:lt1>
        <a:sysClr val="window" lastClr="FFFFFF"/>
      </a:lt1>
      <a:dk2>
        <a:srgbClr val="3B3059"/>
      </a:dk2>
      <a:lt2>
        <a:srgbClr val="EBEBEB"/>
      </a:lt2>
      <a:accent1>
        <a:srgbClr val="B31166"/>
      </a:accent1>
      <a:accent2>
        <a:srgbClr val="E33D6F"/>
      </a:accent2>
      <a:accent3>
        <a:srgbClr val="E45F3C"/>
      </a:accent3>
      <a:accent4>
        <a:srgbClr val="E9943A"/>
      </a:accent4>
      <a:accent5>
        <a:srgbClr val="9B6BF2"/>
      </a:accent5>
      <a:accent6>
        <a:srgbClr val="D53DD0"/>
      </a:accent6>
      <a:hlink>
        <a:srgbClr val="8F8F8F"/>
      </a:hlink>
      <a:folHlink>
        <a:srgbClr val="A5A5A5"/>
      </a:folHlink>
    </a:clrScheme>
    <a:fontScheme name="Ion Boardroom">
      <a:majorFont>
        <a:latin typeface="Century Gothic" panose="020B050202020202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B050202020202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Ion Boardroom">
      <a:fillStyleLst>
        <a:solidFill>
          <a:schemeClr val="phClr"/>
        </a:solidFill>
        <a:gradFill rotWithShape="1">
          <a:gsLst>
            <a:gs pos="0">
              <a:schemeClr val="phClr">
                <a:tint val="64000"/>
                <a:lumMod val="118000"/>
              </a:schemeClr>
            </a:gs>
            <a:gs pos="100000">
              <a:schemeClr val="phClr">
                <a:tint val="92000"/>
                <a:alpha val="100000"/>
                <a:lumMod val="110000"/>
              </a:schemeClr>
            </a:gs>
          </a:gsLst>
          <a:lin ang="5400000" scaled="0"/>
        </a:gradFill>
        <a:gradFill rotWithShape="1">
          <a:gsLst>
            <a:gs pos="0">
              <a:schemeClr val="phClr">
                <a:tint val="98000"/>
                <a:lumMod val="114000"/>
              </a:schemeClr>
            </a:gs>
            <a:gs pos="100000">
              <a:schemeClr val="phClr">
                <a:shade val="90000"/>
                <a:lumMod val="84000"/>
              </a:schemeClr>
            </a:gs>
          </a:gsLst>
          <a:lin ang="5400000" scaled="0"/>
        </a:gradFill>
      </a:fillStyleLst>
      <a:lnStyleLst>
        <a:ln w="9525" cap="rnd" cmpd="sng" algn="ctr">
          <a:solidFill>
            <a:schemeClr val="phClr"/>
          </a:solidFill>
          <a:prstDash val="solid"/>
        </a:ln>
        <a:ln w="19050" cap="rnd" cmpd="sng" algn="ctr">
          <a:solidFill>
            <a:schemeClr val="phClr"/>
          </a:solidFill>
          <a:prstDash val="solid"/>
        </a:ln>
        <a:ln w="28575" cap="rnd" cmpd="sng"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8000"/>
                <a:hueMod val="124000"/>
                <a:satMod val="148000"/>
                <a:lumMod val="124000"/>
              </a:schemeClr>
            </a:gs>
            <a:gs pos="100000">
              <a:schemeClr val="phClr">
                <a:shade val="76000"/>
                <a:hueMod val="89000"/>
                <a:satMod val="164000"/>
                <a:lumMod val="56000"/>
              </a:schemeClr>
            </a:gs>
          </a:gsLst>
          <a:path path="circle">
            <a:fillToRect l="45000" t="65000" r="125000" b="100000"/>
          </a:path>
        </a:gradFill>
        <a:blipFill rotWithShape="1">
          <a:blip xmlns:r="http://schemas.openxmlformats.org/officeDocument/2006/relationships" r:embed="rId1">
            <a:duotone>
              <a:schemeClr val="phClr">
                <a:shade val="69000"/>
                <a:hueMod val="91000"/>
                <a:satMod val="164000"/>
                <a:lumMod val="74000"/>
              </a:schemeClr>
              <a:schemeClr val="phClr">
                <a:hueMod val="124000"/>
                <a:satMod val="140000"/>
                <a:lumMod val="142000"/>
              </a:schemeClr>
            </a:duotone>
          </a:blip>
          <a:stretch/>
        </a:blipFill>
      </a:bgFillStyleLst>
    </a:fmtScheme>
  </a:themeElements>
  <a:objectDefaults/>
  <a:extraClrSchemeLst/>
  <a:extLst>
    <a:ext uri="{05A4C25C-085E-4340-85A3-A5531E510DB2}">
      <thm15:themeFamily xmlns:thm15="http://schemas.microsoft.com/office/thememl/2012/main" name="Ion Boardroom" id="{FC33163D-4339-46B1-8EED-24C834239D99}" vid="{B8502691-933B-45FE-8764-BA278511EF27}"/>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3E2126799F95B42998E340C37B08F59" ma:contentTypeVersion="13" ma:contentTypeDescription="Create a new document." ma:contentTypeScope="" ma:versionID="ada3f985fbbbb2707fd014b4dacf33c3">
  <xsd:schema xmlns:xsd="http://www.w3.org/2001/XMLSchema" xmlns:xs="http://www.w3.org/2001/XMLSchema" xmlns:p="http://schemas.microsoft.com/office/2006/metadata/properties" xmlns:ns3="dab74776-1555-4ccc-84ad-59ebb9ad82ac" xmlns:ns4="108f8598-d51b-4fac-8b67-ab3cd9ad3218" targetNamespace="http://schemas.microsoft.com/office/2006/metadata/properties" ma:root="true" ma:fieldsID="21f8b0114e0ec61ab3739b651b98c129" ns3:_="" ns4:_="">
    <xsd:import namespace="dab74776-1555-4ccc-84ad-59ebb9ad82ac"/>
    <xsd:import namespace="108f8598-d51b-4fac-8b67-ab3cd9ad3218"/>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ServiceAutoKeyPoints" minOccurs="0"/>
                <xsd:element ref="ns3:MediaServiceKeyPoints"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ab74776-1555-4ccc-84ad-59ebb9ad82a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08f8598-d51b-4fac-8b67-ab3cd9ad3218"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B0D6443-AC56-487C-A007-44C9E51B5699}">
  <ds:schemaRefs>
    <ds:schemaRef ds:uri="http://schemas.microsoft.com/sharepoint/v3/contenttype/forms"/>
  </ds:schemaRefs>
</ds:datastoreItem>
</file>

<file path=customXml/itemProps2.xml><?xml version="1.0" encoding="utf-8"?>
<ds:datastoreItem xmlns:ds="http://schemas.openxmlformats.org/officeDocument/2006/customXml" ds:itemID="{3EF121B3-3008-4E76-A762-405E52F6E61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ab74776-1555-4ccc-84ad-59ebb9ad82ac"/>
    <ds:schemaRef ds:uri="108f8598-d51b-4fac-8b67-ab3cd9ad321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4ECC8DB-4796-453D-A9DD-04DEB637E7EE}">
  <ds:schemaRefs>
    <ds:schemaRef ds:uri="http://purl.org/dc/terms/"/>
    <ds:schemaRef ds:uri="http://schemas.microsoft.com/office/infopath/2007/PartnerControls"/>
    <ds:schemaRef ds:uri="http://purl.org/dc/dcmitype/"/>
    <ds:schemaRef ds:uri="http://purl.org/dc/elements/1.1/"/>
    <ds:schemaRef ds:uri="http://schemas.microsoft.com/office/2006/metadata/properties"/>
    <ds:schemaRef ds:uri="dab74776-1555-4ccc-84ad-59ebb9ad82ac"/>
    <ds:schemaRef ds:uri="108f8598-d51b-4fac-8b67-ab3cd9ad3218"/>
    <ds:schemaRef ds:uri="http://schemas.microsoft.com/office/2006/documentManagement/type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Ion Boardroom</Template>
  <TotalTime>1445</TotalTime>
  <Words>1684</Words>
  <Application>Microsoft Office PowerPoint</Application>
  <PresentationFormat>Widescreen</PresentationFormat>
  <Paragraphs>114</Paragraphs>
  <Slides>17</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5" baseType="lpstr">
      <vt:lpstr>Arial</vt:lpstr>
      <vt:lpstr>Calibri</vt:lpstr>
      <vt:lpstr>Calibri Light</vt:lpstr>
      <vt:lpstr>Century Gothic</vt:lpstr>
      <vt:lpstr>Times New Roman</vt:lpstr>
      <vt:lpstr>Wingdings 3</vt:lpstr>
      <vt:lpstr>Ion Boardroom</vt:lpstr>
      <vt:lpstr>think-cell Slide</vt:lpstr>
      <vt:lpstr>Coursera Capstone Project : Applied Data Science  CLAUSSE GILLES </vt:lpstr>
      <vt:lpstr>Agenda </vt:lpstr>
      <vt:lpstr>Introduction and Business problem</vt:lpstr>
      <vt:lpstr>Data description</vt:lpstr>
      <vt:lpstr>Data description</vt:lpstr>
      <vt:lpstr>Data description</vt:lpstr>
      <vt:lpstr>Methodology</vt:lpstr>
      <vt:lpstr>Methodology: 1st insight using visualization</vt:lpstr>
      <vt:lpstr>Methodology: 1st insight using visualization</vt:lpstr>
      <vt:lpstr>Methodology: Linear regression</vt:lpstr>
      <vt:lpstr>Methodology: Linear regression</vt:lpstr>
      <vt:lpstr>Methodology: Linear regression</vt:lpstr>
      <vt:lpstr>Methodology: Principal Component Regression (PCR)</vt:lpstr>
      <vt:lpstr>Methodology: Principal Component Regression (PCR)</vt:lpstr>
      <vt:lpstr>Results</vt:lpstr>
      <vt:lpstr>Discussion</vt:lpstr>
      <vt:lpstr>Conclus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LAUSSE Gilles</dc:creator>
  <cp:lastModifiedBy>CLAUSSE Gilles</cp:lastModifiedBy>
  <cp:revision>2</cp:revision>
  <dcterms:created xsi:type="dcterms:W3CDTF">2021-04-29T19:42:29Z</dcterms:created>
  <dcterms:modified xsi:type="dcterms:W3CDTF">2021-05-01T11:36: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edb8fb6-acc0-4f68-a1ae-7c3e029ce792_Enabled">
    <vt:lpwstr>true</vt:lpwstr>
  </property>
  <property fmtid="{D5CDD505-2E9C-101B-9397-08002B2CF9AE}" pid="3" name="MSIP_Label_9edb8fb6-acc0-4f68-a1ae-7c3e029ce792_SetDate">
    <vt:lpwstr>2021-04-29T19:42:29Z</vt:lpwstr>
  </property>
  <property fmtid="{D5CDD505-2E9C-101B-9397-08002B2CF9AE}" pid="4" name="MSIP_Label_9edb8fb6-acc0-4f68-a1ae-7c3e029ce792_Method">
    <vt:lpwstr>Standard</vt:lpwstr>
  </property>
  <property fmtid="{D5CDD505-2E9C-101B-9397-08002B2CF9AE}" pid="5" name="MSIP_Label_9edb8fb6-acc0-4f68-a1ae-7c3e029ce792_Name">
    <vt:lpwstr>ABE_INTERNAL</vt:lpwstr>
  </property>
  <property fmtid="{D5CDD505-2E9C-101B-9397-08002B2CF9AE}" pid="6" name="MSIP_Label_9edb8fb6-acc0-4f68-a1ae-7c3e029ce792_SiteId">
    <vt:lpwstr>396b38cc-aa65-492b-bb0e-3d94ed25a97b</vt:lpwstr>
  </property>
  <property fmtid="{D5CDD505-2E9C-101B-9397-08002B2CF9AE}" pid="7" name="MSIP_Label_9edb8fb6-acc0-4f68-a1ae-7c3e029ce792_ActionId">
    <vt:lpwstr>f97a6e9a-fdae-4289-a188-39494400da2c</vt:lpwstr>
  </property>
  <property fmtid="{D5CDD505-2E9C-101B-9397-08002B2CF9AE}" pid="8" name="MSIP_Label_9edb8fb6-acc0-4f68-a1ae-7c3e029ce792_ContentBits">
    <vt:lpwstr>0</vt:lpwstr>
  </property>
  <property fmtid="{D5CDD505-2E9C-101B-9397-08002B2CF9AE}" pid="9" name="ContentTypeId">
    <vt:lpwstr>0x010100C3E2126799F95B42998E340C37B08F59</vt:lpwstr>
  </property>
</Properties>
</file>